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Override1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2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Override3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Override4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Override5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Override6.xml" ContentType="application/vnd.openxmlformats-officedocument.themeOverride+xml"/>
  <Override PartName="/ppt/tags/tag13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8"/>
  </p:notesMasterIdLst>
  <p:handoutMasterIdLst>
    <p:handoutMasterId r:id="rId19"/>
  </p:handoutMasterIdLst>
  <p:sldIdLst>
    <p:sldId id="1852" r:id="rId5"/>
    <p:sldId id="274" r:id="rId6"/>
    <p:sldId id="258" r:id="rId7"/>
    <p:sldId id="1819" r:id="rId8"/>
    <p:sldId id="1854" r:id="rId9"/>
    <p:sldId id="1804" r:id="rId10"/>
    <p:sldId id="1855" r:id="rId11"/>
    <p:sldId id="1817" r:id="rId12"/>
    <p:sldId id="1856" r:id="rId13"/>
    <p:sldId id="1799" r:id="rId14"/>
    <p:sldId id="1857" r:id="rId15"/>
    <p:sldId id="1694" r:id="rId16"/>
    <p:sldId id="261" r:id="rId17"/>
  </p:sldIdLst>
  <p:sldSz cx="12192000" cy="6858000"/>
  <p:notesSz cx="6858000" cy="9144000"/>
  <p:custDataLst>
    <p:tags r:id="rId2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6024E"/>
    <a:srgbClr val="080369"/>
    <a:srgbClr val="626262"/>
    <a:srgbClr val="A20000"/>
    <a:srgbClr val="A40000"/>
    <a:srgbClr val="9E0000"/>
    <a:srgbClr val="C7450B"/>
    <a:srgbClr val="E24E0C"/>
    <a:srgbClr val="DC6140"/>
    <a:srgbClr val="E6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DD8821B-318F-4D7C-92B5-B18A91C608EC}" v="79" dt="2022-07-23T01:19:02.2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182" autoAdjust="0"/>
  </p:normalViewPr>
  <p:slideViewPr>
    <p:cSldViewPr snapToGrid="0">
      <p:cViewPr varScale="1">
        <p:scale>
          <a:sx n="83" d="100"/>
          <a:sy n="83" d="100"/>
        </p:scale>
        <p:origin x="115" y="77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2/7/23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7/2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ight Triangle 1_1">
            <a:extLst>
              <a:ext uri="{FF2B5EF4-FFF2-40B4-BE49-F238E27FC236}">
                <a16:creationId xmlns:a16="http://schemas.microsoft.com/office/drawing/2014/main" id="{3A17971E-BDD9-41E0-8EC6-65D2A5BDD408}"/>
              </a:ext>
            </a:extLst>
          </p:cNvPr>
          <p:cNvSpPr/>
          <p:nvPr userDrawn="1"/>
        </p:nvSpPr>
        <p:spPr>
          <a:xfrm flipH="1">
            <a:off x="5334000" y="0"/>
            <a:ext cx="6858000" cy="6858000"/>
          </a:xfrm>
          <a:prstGeom prst="rtTriangl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accent2"/>
              </a:solidFill>
            </a:endParaRPr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099" y="4289132"/>
            <a:ext cx="6121401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099" y="1117195"/>
            <a:ext cx="6121401" cy="3171937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" name="直角三角形 1">
            <a:extLst>
              <a:ext uri="{FF2B5EF4-FFF2-40B4-BE49-F238E27FC236}">
                <a16:creationId xmlns:a16="http://schemas.microsoft.com/office/drawing/2014/main" id="{BCCA2388-4BAD-4498-81CC-67E18877675A}"/>
              </a:ext>
            </a:extLst>
          </p:cNvPr>
          <p:cNvSpPr/>
          <p:nvPr userDrawn="1"/>
        </p:nvSpPr>
        <p:spPr>
          <a:xfrm>
            <a:off x="1" y="4514850"/>
            <a:ext cx="2343150" cy="2343150"/>
          </a:xfrm>
          <a:prstGeom prst="rtTriangl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184898" y="5444534"/>
            <a:ext cx="490855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184898" y="5740805"/>
            <a:ext cx="490855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9B52D96A-6B8A-4A53-99CC-9FA35C6E05A0}"/>
              </a:ext>
            </a:extLst>
          </p:cNvPr>
          <p:cNvSpPr/>
          <p:nvPr userDrawn="1"/>
        </p:nvSpPr>
        <p:spPr>
          <a:xfrm>
            <a:off x="0" y="0"/>
            <a:ext cx="12192000" cy="4635500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5146098" y="28230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5147214" y="371837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2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3340100" y="1003301"/>
            <a:ext cx="8102598" cy="2743872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340100" y="4431899"/>
            <a:ext cx="81025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accent2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0102" y="4135628"/>
            <a:ext cx="8102598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accent2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76516A55-AB44-49C4-A214-E1C2EF2A6AD1}"/>
              </a:ext>
            </a:extLst>
          </p:cNvPr>
          <p:cNvSpPr/>
          <p:nvPr userDrawn="1"/>
        </p:nvSpPr>
        <p:spPr>
          <a:xfrm>
            <a:off x="0" y="0"/>
            <a:ext cx="6858000" cy="6858000"/>
          </a:xfrm>
          <a:custGeom>
            <a:avLst/>
            <a:gdLst>
              <a:gd name="connsiteX0" fmla="*/ 0 w 6858000"/>
              <a:gd name="connsiteY0" fmla="*/ 0 h 6858000"/>
              <a:gd name="connsiteX1" fmla="*/ 6858000 w 6858000"/>
              <a:gd name="connsiteY1" fmla="*/ 6858000 h 6858000"/>
              <a:gd name="connsiteX2" fmla="*/ 6132286 w 6858000"/>
              <a:gd name="connsiteY2" fmla="*/ 6858000 h 6858000"/>
              <a:gd name="connsiteX3" fmla="*/ 0 w 6858000"/>
              <a:gd name="connsiteY3" fmla="*/ 72571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58000" h="6858000">
                <a:moveTo>
                  <a:pt x="0" y="0"/>
                </a:moveTo>
                <a:lnTo>
                  <a:pt x="6858000" y="6858000"/>
                </a:lnTo>
                <a:lnTo>
                  <a:pt x="6132286" y="6858000"/>
                </a:lnTo>
                <a:lnTo>
                  <a:pt x="0" y="725714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themeOverride" Target="../theme/themeOverride5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3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1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themeOverride" Target="../theme/themeOverride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hemeOverride" Target="../theme/themeOverride3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hemeOverride" Target="../theme/themeOverride4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86F95B65-9F7D-5B83-E572-110553DE61D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3099" y="4289132"/>
            <a:ext cx="6121401" cy="1659086"/>
          </a:xfrm>
        </p:spPr>
        <p:txBody>
          <a:bodyPr>
            <a:normAutofit/>
          </a:bodyPr>
          <a:lstStyle/>
          <a:p>
            <a:r>
              <a:rPr lang="es-DO" altLang="zh-CN" sz="2000" dirty="0"/>
              <a:t>Ingeniería</a:t>
            </a:r>
          </a:p>
          <a:p>
            <a:r>
              <a:rPr lang="es-DO" altLang="zh-CN" sz="2000" dirty="0"/>
              <a:t>Algoritmos Maliciosos</a:t>
            </a:r>
          </a:p>
          <a:p>
            <a:r>
              <a:rPr lang="es-DO" altLang="zh-CN" sz="2000" dirty="0"/>
              <a:t>ICS202-01</a:t>
            </a:r>
          </a:p>
          <a:p>
            <a:r>
              <a:rPr lang="es-DO" altLang="zh-CN" sz="2000" dirty="0"/>
              <a:t>Profesor Ing. Harold Marzán</a:t>
            </a:r>
            <a:endParaRPr lang="en-US" altLang="zh-CN" sz="20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6CC8A20-7E32-DCA8-77D6-217C7E5E9A7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s-DO" sz="6000" dirty="0"/>
              <a:t>Virus</a:t>
            </a:r>
            <a:br>
              <a:rPr lang="es-DO" dirty="0"/>
            </a:br>
            <a:r>
              <a:rPr lang="es-DO" sz="8000" b="0" dirty="0" err="1">
                <a:solidFill>
                  <a:schemeClr val="accent1">
                    <a:lumMod val="75000"/>
                  </a:schemeClr>
                </a:solidFill>
              </a:rPr>
              <a:t>Minion</a:t>
            </a:r>
            <a:r>
              <a:rPr lang="es-DO" sz="8000" b="0" dirty="0">
                <a:solidFill>
                  <a:schemeClr val="accent1">
                    <a:lumMod val="75000"/>
                  </a:schemeClr>
                </a:solidFill>
              </a:rPr>
              <a:t> Time</a:t>
            </a:r>
            <a:endParaRPr lang="es-DO" b="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71631B24-CB2B-3447-3F6E-263D94598E5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84898" y="5444534"/>
            <a:ext cx="4908550" cy="296271"/>
          </a:xfrm>
        </p:spPr>
        <p:txBody>
          <a:bodyPr/>
          <a:lstStyle/>
          <a:p>
            <a:r>
              <a:rPr lang="en-US" altLang="zh-CN" sz="2400" dirty="0">
                <a:solidFill>
                  <a:schemeClr val="bg1"/>
                </a:solidFill>
              </a:rPr>
              <a:t>Víctor Toribio</a:t>
            </a:r>
          </a:p>
        </p:txBody>
      </p:sp>
      <p:sp>
        <p:nvSpPr>
          <p:cNvPr id="7" name="文本占位符 6">
            <a:extLst>
              <a:ext uri="{FF2B5EF4-FFF2-40B4-BE49-F238E27FC236}">
                <a16:creationId xmlns:a16="http://schemas.microsoft.com/office/drawing/2014/main" id="{DABB2953-AC26-7B0E-8570-A429CEF707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84898" y="5740805"/>
            <a:ext cx="4908550" cy="296271"/>
          </a:xfrm>
        </p:spPr>
        <p:txBody>
          <a:bodyPr/>
          <a:lstStyle/>
          <a:p>
            <a:r>
              <a:rPr lang="en-US" altLang="zh-CN" sz="2400" dirty="0">
                <a:solidFill>
                  <a:schemeClr val="bg1"/>
                </a:solidFill>
              </a:rPr>
              <a:t>1098632</a:t>
            </a:r>
            <a:endParaRPr lang="en-US" altLang="en-US" sz="2400" dirty="0">
              <a:solidFill>
                <a:schemeClr val="bg1"/>
              </a:solidFill>
            </a:endParaRPr>
          </a:p>
        </p:txBody>
      </p:sp>
      <p:pic>
        <p:nvPicPr>
          <p:cNvPr id="1026" name="Picture 2" descr="Instituto Tecnológico de Santo Domingo - Home | Facebook">
            <a:extLst>
              <a:ext uri="{FF2B5EF4-FFF2-40B4-BE49-F238E27FC236}">
                <a16:creationId xmlns:a16="http://schemas.microsoft.com/office/drawing/2014/main" id="{A7D66B1A-2329-E865-C28B-2A5BEF0DFA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403" y="219803"/>
            <a:ext cx="897392" cy="897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545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4ACDB42-E1E0-4480-9779-C4AC38F751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DO" altLang="zh-CN" dirty="0"/>
              <a:t>Detalle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3EEDD8A-60D4-486B-A21D-673EA29A31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grpSp>
        <p:nvGrpSpPr>
          <p:cNvPr id="5" name="24941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9372408E-C2AE-401E-B014-921AE07E7457}"/>
              </a:ext>
            </a:extLst>
          </p:cNvPr>
          <p:cNvGrpSpPr>
            <a:grpSpLocks noChangeAspect="1"/>
          </p:cNvGrpSpPr>
          <p:nvPr/>
        </p:nvGrpSpPr>
        <p:grpSpPr>
          <a:xfrm>
            <a:off x="60356" y="2001337"/>
            <a:ext cx="12071288" cy="4856663"/>
            <a:chOff x="60356" y="2001337"/>
            <a:chExt cx="12071288" cy="4856663"/>
          </a:xfrm>
        </p:grpSpPr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36426BD0-2692-4A21-AF47-C72C1E7E7E78}"/>
                </a:ext>
              </a:extLst>
            </p:cNvPr>
            <p:cNvCxnSpPr>
              <a:cxnSpLocks/>
              <a:stCxn id="25" idx="2"/>
            </p:cNvCxnSpPr>
            <p:nvPr/>
          </p:nvCxnSpPr>
          <p:spPr>
            <a:xfrm>
              <a:off x="2082770" y="3071348"/>
              <a:ext cx="26821" cy="3253417"/>
            </a:xfrm>
            <a:prstGeom prst="line">
              <a:avLst/>
            </a:prstGeom>
            <a:ln w="12700" cap="rnd">
              <a:solidFill>
                <a:schemeClr val="bg1">
                  <a:lumMod val="75000"/>
                </a:schemeClr>
              </a:solidFill>
              <a:prstDash val="dash"/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îṡľíḑé">
              <a:extLst>
                <a:ext uri="{FF2B5EF4-FFF2-40B4-BE49-F238E27FC236}">
                  <a16:creationId xmlns:a16="http://schemas.microsoft.com/office/drawing/2014/main" id="{12DCE7E1-87A5-4848-ADD9-4FE242A3723D}"/>
                </a:ext>
              </a:extLst>
            </p:cNvPr>
            <p:cNvGrpSpPr/>
            <p:nvPr/>
          </p:nvGrpSpPr>
          <p:grpSpPr>
            <a:xfrm>
              <a:off x="60356" y="3471750"/>
              <a:ext cx="12071288" cy="3386250"/>
              <a:chOff x="2215081" y="3633996"/>
              <a:chExt cx="7761838" cy="3224004"/>
            </a:xfrm>
          </p:grpSpPr>
          <p:sp>
            <p:nvSpPr>
              <p:cNvPr id="28" name="išḷiďe">
                <a:extLst>
                  <a:ext uri="{FF2B5EF4-FFF2-40B4-BE49-F238E27FC236}">
                    <a16:creationId xmlns:a16="http://schemas.microsoft.com/office/drawing/2014/main" id="{C59A4823-9C74-43A1-96E8-D29D2F6DE143}"/>
                  </a:ext>
                </a:extLst>
              </p:cNvPr>
              <p:cNvSpPr/>
              <p:nvPr/>
            </p:nvSpPr>
            <p:spPr bwMode="auto">
              <a:xfrm>
                <a:off x="5785042" y="4160336"/>
                <a:ext cx="1072873" cy="1066142"/>
              </a:xfrm>
              <a:custGeom>
                <a:avLst/>
                <a:gdLst>
                  <a:gd name="T0" fmla="*/ 391 w 393"/>
                  <a:gd name="T1" fmla="*/ 383 h 390"/>
                  <a:gd name="T2" fmla="*/ 172 w 393"/>
                  <a:gd name="T3" fmla="*/ 112 h 390"/>
                  <a:gd name="T4" fmla="*/ 113 w 393"/>
                  <a:gd name="T5" fmla="*/ 45 h 390"/>
                  <a:gd name="T6" fmla="*/ 73 w 393"/>
                  <a:gd name="T7" fmla="*/ 2 h 390"/>
                  <a:gd name="T8" fmla="*/ 45 w 393"/>
                  <a:gd name="T9" fmla="*/ 24 h 390"/>
                  <a:gd name="T10" fmla="*/ 13 w 393"/>
                  <a:gd name="T11" fmla="*/ 79 h 390"/>
                  <a:gd name="T12" fmla="*/ 12 w 393"/>
                  <a:gd name="T13" fmla="*/ 81 h 390"/>
                  <a:gd name="T14" fmla="*/ 11 w 393"/>
                  <a:gd name="T15" fmla="*/ 83 h 390"/>
                  <a:gd name="T16" fmla="*/ 48 w 393"/>
                  <a:gd name="T17" fmla="*/ 135 h 390"/>
                  <a:gd name="T18" fmla="*/ 140 w 393"/>
                  <a:gd name="T19" fmla="*/ 177 h 390"/>
                  <a:gd name="T20" fmla="*/ 268 w 393"/>
                  <a:gd name="T21" fmla="*/ 256 h 390"/>
                  <a:gd name="T22" fmla="*/ 384 w 393"/>
                  <a:gd name="T23" fmla="*/ 386 h 390"/>
                  <a:gd name="T24" fmla="*/ 391 w 393"/>
                  <a:gd name="T25" fmla="*/ 383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3" h="390">
                    <a:moveTo>
                      <a:pt x="391" y="383"/>
                    </a:moveTo>
                    <a:cubicBezTo>
                      <a:pt x="357" y="266"/>
                      <a:pt x="265" y="184"/>
                      <a:pt x="172" y="112"/>
                    </a:cubicBezTo>
                    <a:cubicBezTo>
                      <a:pt x="147" y="92"/>
                      <a:pt x="128" y="73"/>
                      <a:pt x="113" y="45"/>
                    </a:cubicBezTo>
                    <a:cubicBezTo>
                      <a:pt x="105" y="29"/>
                      <a:pt x="94" y="5"/>
                      <a:pt x="73" y="2"/>
                    </a:cubicBezTo>
                    <a:cubicBezTo>
                      <a:pt x="59" y="0"/>
                      <a:pt x="50" y="14"/>
                      <a:pt x="45" y="24"/>
                    </a:cubicBezTo>
                    <a:cubicBezTo>
                      <a:pt x="35" y="42"/>
                      <a:pt x="30" y="66"/>
                      <a:pt x="13" y="79"/>
                    </a:cubicBezTo>
                    <a:cubicBezTo>
                      <a:pt x="12" y="79"/>
                      <a:pt x="12" y="80"/>
                      <a:pt x="12" y="81"/>
                    </a:cubicBezTo>
                    <a:cubicBezTo>
                      <a:pt x="12" y="81"/>
                      <a:pt x="11" y="82"/>
                      <a:pt x="11" y="83"/>
                    </a:cubicBezTo>
                    <a:cubicBezTo>
                      <a:pt x="0" y="106"/>
                      <a:pt x="31" y="125"/>
                      <a:pt x="48" y="135"/>
                    </a:cubicBezTo>
                    <a:cubicBezTo>
                      <a:pt x="77" y="152"/>
                      <a:pt x="109" y="164"/>
                      <a:pt x="140" y="177"/>
                    </a:cubicBezTo>
                    <a:cubicBezTo>
                      <a:pt x="187" y="195"/>
                      <a:pt x="230" y="225"/>
                      <a:pt x="268" y="256"/>
                    </a:cubicBezTo>
                    <a:cubicBezTo>
                      <a:pt x="313" y="293"/>
                      <a:pt x="352" y="337"/>
                      <a:pt x="384" y="386"/>
                    </a:cubicBezTo>
                    <a:cubicBezTo>
                      <a:pt x="386" y="390"/>
                      <a:pt x="393" y="388"/>
                      <a:pt x="391" y="38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29" name="iŝḷíḓé">
                <a:extLst>
                  <a:ext uri="{FF2B5EF4-FFF2-40B4-BE49-F238E27FC236}">
                    <a16:creationId xmlns:a16="http://schemas.microsoft.com/office/drawing/2014/main" id="{BB8E1C26-79DF-40D6-8C8A-57065FAE4BB1}"/>
                  </a:ext>
                </a:extLst>
              </p:cNvPr>
              <p:cNvSpPr/>
              <p:nvPr/>
            </p:nvSpPr>
            <p:spPr bwMode="auto">
              <a:xfrm>
                <a:off x="4720246" y="4706870"/>
                <a:ext cx="1441715" cy="1124027"/>
              </a:xfrm>
              <a:custGeom>
                <a:avLst/>
                <a:gdLst>
                  <a:gd name="T0" fmla="*/ 526 w 528"/>
                  <a:gd name="T1" fmla="*/ 304 h 411"/>
                  <a:gd name="T2" fmla="*/ 467 w 528"/>
                  <a:gd name="T3" fmla="*/ 257 h 411"/>
                  <a:gd name="T4" fmla="*/ 429 w 528"/>
                  <a:gd name="T5" fmla="*/ 168 h 411"/>
                  <a:gd name="T6" fmla="*/ 380 w 528"/>
                  <a:gd name="T7" fmla="*/ 98 h 411"/>
                  <a:gd name="T8" fmla="*/ 393 w 528"/>
                  <a:gd name="T9" fmla="*/ 23 h 411"/>
                  <a:gd name="T10" fmla="*/ 395 w 528"/>
                  <a:gd name="T11" fmla="*/ 20 h 411"/>
                  <a:gd name="T12" fmla="*/ 406 w 528"/>
                  <a:gd name="T13" fmla="*/ 7 h 411"/>
                  <a:gd name="T14" fmla="*/ 403 w 528"/>
                  <a:gd name="T15" fmla="*/ 0 h 411"/>
                  <a:gd name="T16" fmla="*/ 308 w 528"/>
                  <a:gd name="T17" fmla="*/ 66 h 411"/>
                  <a:gd name="T18" fmla="*/ 228 w 528"/>
                  <a:gd name="T19" fmla="*/ 180 h 411"/>
                  <a:gd name="T20" fmla="*/ 171 w 528"/>
                  <a:gd name="T21" fmla="*/ 229 h 411"/>
                  <a:gd name="T22" fmla="*/ 148 w 528"/>
                  <a:gd name="T23" fmla="*/ 227 h 411"/>
                  <a:gd name="T24" fmla="*/ 130 w 528"/>
                  <a:gd name="T25" fmla="*/ 246 h 411"/>
                  <a:gd name="T26" fmla="*/ 113 w 528"/>
                  <a:gd name="T27" fmla="*/ 275 h 411"/>
                  <a:gd name="T28" fmla="*/ 69 w 528"/>
                  <a:gd name="T29" fmla="*/ 333 h 411"/>
                  <a:gd name="T30" fmla="*/ 6 w 528"/>
                  <a:gd name="T31" fmla="*/ 401 h 411"/>
                  <a:gd name="T32" fmla="*/ 2 w 528"/>
                  <a:gd name="T33" fmla="*/ 406 h 411"/>
                  <a:gd name="T34" fmla="*/ 2 w 528"/>
                  <a:gd name="T35" fmla="*/ 407 h 411"/>
                  <a:gd name="T36" fmla="*/ 3 w 528"/>
                  <a:gd name="T37" fmla="*/ 410 h 411"/>
                  <a:gd name="T38" fmla="*/ 6 w 528"/>
                  <a:gd name="T39" fmla="*/ 411 h 411"/>
                  <a:gd name="T40" fmla="*/ 171 w 528"/>
                  <a:gd name="T41" fmla="*/ 307 h 411"/>
                  <a:gd name="T42" fmla="*/ 320 w 528"/>
                  <a:gd name="T43" fmla="*/ 172 h 411"/>
                  <a:gd name="T44" fmla="*/ 327 w 528"/>
                  <a:gd name="T45" fmla="*/ 161 h 411"/>
                  <a:gd name="T46" fmla="*/ 331 w 528"/>
                  <a:gd name="T47" fmla="*/ 153 h 411"/>
                  <a:gd name="T48" fmla="*/ 522 w 528"/>
                  <a:gd name="T49" fmla="*/ 312 h 411"/>
                  <a:gd name="T50" fmla="*/ 526 w 528"/>
                  <a:gd name="T51" fmla="*/ 304 h 4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28" h="411">
                    <a:moveTo>
                      <a:pt x="526" y="304"/>
                    </a:moveTo>
                    <a:cubicBezTo>
                      <a:pt x="508" y="285"/>
                      <a:pt x="485" y="275"/>
                      <a:pt x="467" y="257"/>
                    </a:cubicBezTo>
                    <a:cubicBezTo>
                      <a:pt x="443" y="234"/>
                      <a:pt x="442" y="197"/>
                      <a:pt x="429" y="168"/>
                    </a:cubicBezTo>
                    <a:cubicBezTo>
                      <a:pt x="417" y="141"/>
                      <a:pt x="390" y="125"/>
                      <a:pt x="380" y="98"/>
                    </a:cubicBezTo>
                    <a:cubicBezTo>
                      <a:pt x="371" y="74"/>
                      <a:pt x="378" y="45"/>
                      <a:pt x="393" y="23"/>
                    </a:cubicBezTo>
                    <a:cubicBezTo>
                      <a:pt x="394" y="22"/>
                      <a:pt x="394" y="21"/>
                      <a:pt x="395" y="20"/>
                    </a:cubicBezTo>
                    <a:cubicBezTo>
                      <a:pt x="398" y="15"/>
                      <a:pt x="402" y="11"/>
                      <a:pt x="406" y="7"/>
                    </a:cubicBezTo>
                    <a:cubicBezTo>
                      <a:pt x="408" y="5"/>
                      <a:pt x="407" y="0"/>
                      <a:pt x="403" y="0"/>
                    </a:cubicBezTo>
                    <a:cubicBezTo>
                      <a:pt x="362" y="5"/>
                      <a:pt x="332" y="36"/>
                      <a:pt x="308" y="66"/>
                    </a:cubicBezTo>
                    <a:cubicBezTo>
                      <a:pt x="279" y="102"/>
                      <a:pt x="256" y="143"/>
                      <a:pt x="228" y="180"/>
                    </a:cubicBezTo>
                    <a:cubicBezTo>
                      <a:pt x="218" y="194"/>
                      <a:pt x="191" y="234"/>
                      <a:pt x="171" y="229"/>
                    </a:cubicBezTo>
                    <a:cubicBezTo>
                      <a:pt x="162" y="227"/>
                      <a:pt x="157" y="222"/>
                      <a:pt x="148" y="227"/>
                    </a:cubicBezTo>
                    <a:cubicBezTo>
                      <a:pt x="140" y="231"/>
                      <a:pt x="134" y="238"/>
                      <a:pt x="130" y="246"/>
                    </a:cubicBezTo>
                    <a:cubicBezTo>
                      <a:pt x="124" y="255"/>
                      <a:pt x="119" y="265"/>
                      <a:pt x="113" y="275"/>
                    </a:cubicBezTo>
                    <a:cubicBezTo>
                      <a:pt x="99" y="295"/>
                      <a:pt x="84" y="314"/>
                      <a:pt x="69" y="333"/>
                    </a:cubicBezTo>
                    <a:cubicBezTo>
                      <a:pt x="49" y="356"/>
                      <a:pt x="27" y="378"/>
                      <a:pt x="6" y="401"/>
                    </a:cubicBezTo>
                    <a:cubicBezTo>
                      <a:pt x="4" y="402"/>
                      <a:pt x="2" y="404"/>
                      <a:pt x="2" y="406"/>
                    </a:cubicBezTo>
                    <a:cubicBezTo>
                      <a:pt x="2" y="406"/>
                      <a:pt x="2" y="407"/>
                      <a:pt x="2" y="407"/>
                    </a:cubicBezTo>
                    <a:cubicBezTo>
                      <a:pt x="0" y="408"/>
                      <a:pt x="2" y="410"/>
                      <a:pt x="3" y="410"/>
                    </a:cubicBezTo>
                    <a:cubicBezTo>
                      <a:pt x="4" y="411"/>
                      <a:pt x="5" y="411"/>
                      <a:pt x="6" y="411"/>
                    </a:cubicBezTo>
                    <a:cubicBezTo>
                      <a:pt x="77" y="402"/>
                      <a:pt x="104" y="322"/>
                      <a:pt x="171" y="307"/>
                    </a:cubicBezTo>
                    <a:cubicBezTo>
                      <a:pt x="241" y="292"/>
                      <a:pt x="289" y="234"/>
                      <a:pt x="320" y="172"/>
                    </a:cubicBezTo>
                    <a:cubicBezTo>
                      <a:pt x="323" y="168"/>
                      <a:pt x="325" y="165"/>
                      <a:pt x="327" y="161"/>
                    </a:cubicBezTo>
                    <a:cubicBezTo>
                      <a:pt x="329" y="158"/>
                      <a:pt x="330" y="156"/>
                      <a:pt x="331" y="153"/>
                    </a:cubicBezTo>
                    <a:cubicBezTo>
                      <a:pt x="402" y="200"/>
                      <a:pt x="424" y="310"/>
                      <a:pt x="522" y="312"/>
                    </a:cubicBezTo>
                    <a:cubicBezTo>
                      <a:pt x="527" y="312"/>
                      <a:pt x="528" y="307"/>
                      <a:pt x="526" y="304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30" name="iṡḻídê">
                <a:extLst>
                  <a:ext uri="{FF2B5EF4-FFF2-40B4-BE49-F238E27FC236}">
                    <a16:creationId xmlns:a16="http://schemas.microsoft.com/office/drawing/2014/main" id="{9BAF19AB-70B0-4B20-8A36-F333C28A772E}"/>
                  </a:ext>
                </a:extLst>
              </p:cNvPr>
              <p:cNvSpPr/>
              <p:nvPr/>
            </p:nvSpPr>
            <p:spPr bwMode="auto">
              <a:xfrm>
                <a:off x="2460078" y="5253402"/>
                <a:ext cx="892490" cy="779415"/>
              </a:xfrm>
              <a:custGeom>
                <a:avLst/>
                <a:gdLst>
                  <a:gd name="T0" fmla="*/ 327 w 327"/>
                  <a:gd name="T1" fmla="*/ 73 h 285"/>
                  <a:gd name="T2" fmla="*/ 257 w 327"/>
                  <a:gd name="T3" fmla="*/ 3 h 285"/>
                  <a:gd name="T4" fmla="*/ 224 w 327"/>
                  <a:gd name="T5" fmla="*/ 20 h 285"/>
                  <a:gd name="T6" fmla="*/ 213 w 327"/>
                  <a:gd name="T7" fmla="*/ 46 h 285"/>
                  <a:gd name="T8" fmla="*/ 194 w 327"/>
                  <a:gd name="T9" fmla="*/ 84 h 285"/>
                  <a:gd name="T10" fmla="*/ 109 w 327"/>
                  <a:gd name="T11" fmla="*/ 199 h 285"/>
                  <a:gd name="T12" fmla="*/ 5 w 327"/>
                  <a:gd name="T13" fmla="*/ 271 h 285"/>
                  <a:gd name="T14" fmla="*/ 3 w 327"/>
                  <a:gd name="T15" fmla="*/ 276 h 285"/>
                  <a:gd name="T16" fmla="*/ 4 w 327"/>
                  <a:gd name="T17" fmla="*/ 283 h 285"/>
                  <a:gd name="T18" fmla="*/ 24 w 327"/>
                  <a:gd name="T19" fmla="*/ 281 h 285"/>
                  <a:gd name="T20" fmla="*/ 60 w 327"/>
                  <a:gd name="T21" fmla="*/ 268 h 285"/>
                  <a:gd name="T22" fmla="*/ 157 w 327"/>
                  <a:gd name="T23" fmla="*/ 203 h 285"/>
                  <a:gd name="T24" fmla="*/ 233 w 327"/>
                  <a:gd name="T25" fmla="*/ 124 h 285"/>
                  <a:gd name="T26" fmla="*/ 263 w 327"/>
                  <a:gd name="T27" fmla="*/ 86 h 285"/>
                  <a:gd name="T28" fmla="*/ 324 w 327"/>
                  <a:gd name="T29" fmla="*/ 78 h 285"/>
                  <a:gd name="T30" fmla="*/ 327 w 327"/>
                  <a:gd name="T31" fmla="*/ 73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27" h="285">
                    <a:moveTo>
                      <a:pt x="327" y="73"/>
                    </a:moveTo>
                    <a:cubicBezTo>
                      <a:pt x="317" y="44"/>
                      <a:pt x="287" y="11"/>
                      <a:pt x="257" y="3"/>
                    </a:cubicBezTo>
                    <a:cubicBezTo>
                      <a:pt x="242" y="0"/>
                      <a:pt x="231" y="8"/>
                      <a:pt x="224" y="20"/>
                    </a:cubicBezTo>
                    <a:cubicBezTo>
                      <a:pt x="219" y="28"/>
                      <a:pt x="216" y="37"/>
                      <a:pt x="213" y="46"/>
                    </a:cubicBezTo>
                    <a:cubicBezTo>
                      <a:pt x="209" y="60"/>
                      <a:pt x="202" y="72"/>
                      <a:pt x="194" y="84"/>
                    </a:cubicBezTo>
                    <a:cubicBezTo>
                      <a:pt x="168" y="123"/>
                      <a:pt x="139" y="162"/>
                      <a:pt x="109" y="199"/>
                    </a:cubicBezTo>
                    <a:cubicBezTo>
                      <a:pt x="84" y="229"/>
                      <a:pt x="48" y="272"/>
                      <a:pt x="5" y="271"/>
                    </a:cubicBezTo>
                    <a:cubicBezTo>
                      <a:pt x="2" y="271"/>
                      <a:pt x="1" y="274"/>
                      <a:pt x="3" y="276"/>
                    </a:cubicBezTo>
                    <a:cubicBezTo>
                      <a:pt x="0" y="277"/>
                      <a:pt x="0" y="281"/>
                      <a:pt x="4" y="283"/>
                    </a:cubicBezTo>
                    <a:cubicBezTo>
                      <a:pt x="9" y="285"/>
                      <a:pt x="19" y="282"/>
                      <a:pt x="24" y="281"/>
                    </a:cubicBezTo>
                    <a:cubicBezTo>
                      <a:pt x="37" y="279"/>
                      <a:pt x="49" y="274"/>
                      <a:pt x="60" y="268"/>
                    </a:cubicBezTo>
                    <a:cubicBezTo>
                      <a:pt x="95" y="252"/>
                      <a:pt x="128" y="227"/>
                      <a:pt x="157" y="203"/>
                    </a:cubicBezTo>
                    <a:cubicBezTo>
                      <a:pt x="186" y="180"/>
                      <a:pt x="211" y="153"/>
                      <a:pt x="233" y="124"/>
                    </a:cubicBezTo>
                    <a:cubicBezTo>
                      <a:pt x="242" y="111"/>
                      <a:pt x="251" y="97"/>
                      <a:pt x="263" y="86"/>
                    </a:cubicBezTo>
                    <a:cubicBezTo>
                      <a:pt x="280" y="69"/>
                      <a:pt x="303" y="83"/>
                      <a:pt x="324" y="78"/>
                    </a:cubicBezTo>
                    <a:cubicBezTo>
                      <a:pt x="326" y="78"/>
                      <a:pt x="327" y="75"/>
                      <a:pt x="327" y="7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31" name="ïṣḻïḓé">
                <a:extLst>
                  <a:ext uri="{FF2B5EF4-FFF2-40B4-BE49-F238E27FC236}">
                    <a16:creationId xmlns:a16="http://schemas.microsoft.com/office/drawing/2014/main" id="{37CF985B-5A51-4E13-BC40-FD3DD4AC1E1B}"/>
                  </a:ext>
                </a:extLst>
              </p:cNvPr>
              <p:cNvSpPr/>
              <p:nvPr/>
            </p:nvSpPr>
            <p:spPr bwMode="auto">
              <a:xfrm>
                <a:off x="6848491" y="5515899"/>
                <a:ext cx="1321909" cy="1177872"/>
              </a:xfrm>
              <a:custGeom>
                <a:avLst/>
                <a:gdLst>
                  <a:gd name="T0" fmla="*/ 481 w 484"/>
                  <a:gd name="T1" fmla="*/ 423 h 431"/>
                  <a:gd name="T2" fmla="*/ 361 w 484"/>
                  <a:gd name="T3" fmla="*/ 300 h 431"/>
                  <a:gd name="T4" fmla="*/ 259 w 484"/>
                  <a:gd name="T5" fmla="*/ 179 h 431"/>
                  <a:gd name="T6" fmla="*/ 112 w 484"/>
                  <a:gd name="T7" fmla="*/ 110 h 431"/>
                  <a:gd name="T8" fmla="*/ 21 w 484"/>
                  <a:gd name="T9" fmla="*/ 26 h 431"/>
                  <a:gd name="T10" fmla="*/ 17 w 484"/>
                  <a:gd name="T11" fmla="*/ 17 h 431"/>
                  <a:gd name="T12" fmla="*/ 12 w 484"/>
                  <a:gd name="T13" fmla="*/ 6 h 431"/>
                  <a:gd name="T14" fmla="*/ 3 w 484"/>
                  <a:gd name="T15" fmla="*/ 12 h 431"/>
                  <a:gd name="T16" fmla="*/ 17 w 484"/>
                  <a:gd name="T17" fmla="*/ 46 h 431"/>
                  <a:gd name="T18" fmla="*/ 23 w 484"/>
                  <a:gd name="T19" fmla="*/ 66 h 431"/>
                  <a:gd name="T20" fmla="*/ 53 w 484"/>
                  <a:gd name="T21" fmla="*/ 115 h 431"/>
                  <a:gd name="T22" fmla="*/ 100 w 484"/>
                  <a:gd name="T23" fmla="*/ 166 h 431"/>
                  <a:gd name="T24" fmla="*/ 121 w 484"/>
                  <a:gd name="T25" fmla="*/ 248 h 431"/>
                  <a:gd name="T26" fmla="*/ 174 w 484"/>
                  <a:gd name="T27" fmla="*/ 366 h 431"/>
                  <a:gd name="T28" fmla="*/ 279 w 484"/>
                  <a:gd name="T29" fmla="*/ 413 h 431"/>
                  <a:gd name="T30" fmla="*/ 280 w 484"/>
                  <a:gd name="T31" fmla="*/ 406 h 431"/>
                  <a:gd name="T32" fmla="*/ 181 w 484"/>
                  <a:gd name="T33" fmla="*/ 294 h 431"/>
                  <a:gd name="T34" fmla="*/ 179 w 484"/>
                  <a:gd name="T35" fmla="*/ 252 h 431"/>
                  <a:gd name="T36" fmla="*/ 181 w 484"/>
                  <a:gd name="T37" fmla="*/ 247 h 431"/>
                  <a:gd name="T38" fmla="*/ 183 w 484"/>
                  <a:gd name="T39" fmla="*/ 245 h 431"/>
                  <a:gd name="T40" fmla="*/ 194 w 484"/>
                  <a:gd name="T41" fmla="*/ 238 h 431"/>
                  <a:gd name="T42" fmla="*/ 263 w 484"/>
                  <a:gd name="T43" fmla="*/ 250 h 431"/>
                  <a:gd name="T44" fmla="*/ 358 w 484"/>
                  <a:gd name="T45" fmla="*/ 359 h 431"/>
                  <a:gd name="T46" fmla="*/ 477 w 484"/>
                  <a:gd name="T47" fmla="*/ 430 h 431"/>
                  <a:gd name="T48" fmla="*/ 481 w 484"/>
                  <a:gd name="T49" fmla="*/ 423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84" h="431">
                    <a:moveTo>
                      <a:pt x="481" y="423"/>
                    </a:moveTo>
                    <a:cubicBezTo>
                      <a:pt x="438" y="384"/>
                      <a:pt x="395" y="348"/>
                      <a:pt x="361" y="300"/>
                    </a:cubicBezTo>
                    <a:cubicBezTo>
                      <a:pt x="331" y="255"/>
                      <a:pt x="303" y="211"/>
                      <a:pt x="259" y="179"/>
                    </a:cubicBezTo>
                    <a:cubicBezTo>
                      <a:pt x="215" y="147"/>
                      <a:pt x="163" y="128"/>
                      <a:pt x="112" y="110"/>
                    </a:cubicBezTo>
                    <a:cubicBezTo>
                      <a:pt x="70" y="96"/>
                      <a:pt x="42" y="63"/>
                      <a:pt x="21" y="26"/>
                    </a:cubicBezTo>
                    <a:cubicBezTo>
                      <a:pt x="20" y="23"/>
                      <a:pt x="19" y="20"/>
                      <a:pt x="17" y="17"/>
                    </a:cubicBezTo>
                    <a:cubicBezTo>
                      <a:pt x="15" y="14"/>
                      <a:pt x="13" y="10"/>
                      <a:pt x="12" y="6"/>
                    </a:cubicBezTo>
                    <a:cubicBezTo>
                      <a:pt x="9" y="0"/>
                      <a:pt x="0" y="6"/>
                      <a:pt x="3" y="12"/>
                    </a:cubicBezTo>
                    <a:cubicBezTo>
                      <a:pt x="7" y="22"/>
                      <a:pt x="11" y="35"/>
                      <a:pt x="17" y="46"/>
                    </a:cubicBezTo>
                    <a:cubicBezTo>
                      <a:pt x="19" y="52"/>
                      <a:pt x="20" y="59"/>
                      <a:pt x="23" y="66"/>
                    </a:cubicBezTo>
                    <a:cubicBezTo>
                      <a:pt x="29" y="85"/>
                      <a:pt x="39" y="101"/>
                      <a:pt x="53" y="115"/>
                    </a:cubicBezTo>
                    <a:cubicBezTo>
                      <a:pt x="69" y="132"/>
                      <a:pt x="88" y="146"/>
                      <a:pt x="100" y="166"/>
                    </a:cubicBezTo>
                    <a:cubicBezTo>
                      <a:pt x="116" y="190"/>
                      <a:pt x="118" y="220"/>
                      <a:pt x="121" y="248"/>
                    </a:cubicBezTo>
                    <a:cubicBezTo>
                      <a:pt x="126" y="294"/>
                      <a:pt x="143" y="332"/>
                      <a:pt x="174" y="366"/>
                    </a:cubicBezTo>
                    <a:cubicBezTo>
                      <a:pt x="200" y="396"/>
                      <a:pt x="238" y="421"/>
                      <a:pt x="279" y="413"/>
                    </a:cubicBezTo>
                    <a:cubicBezTo>
                      <a:pt x="283" y="413"/>
                      <a:pt x="283" y="408"/>
                      <a:pt x="280" y="406"/>
                    </a:cubicBezTo>
                    <a:cubicBezTo>
                      <a:pt x="239" y="375"/>
                      <a:pt x="198" y="344"/>
                      <a:pt x="181" y="294"/>
                    </a:cubicBezTo>
                    <a:cubicBezTo>
                      <a:pt x="177" y="281"/>
                      <a:pt x="174" y="265"/>
                      <a:pt x="179" y="252"/>
                    </a:cubicBezTo>
                    <a:cubicBezTo>
                      <a:pt x="180" y="251"/>
                      <a:pt x="180" y="249"/>
                      <a:pt x="181" y="247"/>
                    </a:cubicBezTo>
                    <a:cubicBezTo>
                      <a:pt x="182" y="247"/>
                      <a:pt x="183" y="246"/>
                      <a:pt x="183" y="245"/>
                    </a:cubicBezTo>
                    <a:cubicBezTo>
                      <a:pt x="186" y="242"/>
                      <a:pt x="189" y="240"/>
                      <a:pt x="194" y="238"/>
                    </a:cubicBezTo>
                    <a:cubicBezTo>
                      <a:pt x="216" y="229"/>
                      <a:pt x="244" y="239"/>
                      <a:pt x="263" y="250"/>
                    </a:cubicBezTo>
                    <a:cubicBezTo>
                      <a:pt x="305" y="275"/>
                      <a:pt x="328" y="323"/>
                      <a:pt x="358" y="359"/>
                    </a:cubicBezTo>
                    <a:cubicBezTo>
                      <a:pt x="389" y="396"/>
                      <a:pt x="431" y="418"/>
                      <a:pt x="477" y="430"/>
                    </a:cubicBezTo>
                    <a:cubicBezTo>
                      <a:pt x="481" y="431"/>
                      <a:pt x="484" y="426"/>
                      <a:pt x="481" y="42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32" name="ïŝliḍè">
                <a:extLst>
                  <a:ext uri="{FF2B5EF4-FFF2-40B4-BE49-F238E27FC236}">
                    <a16:creationId xmlns:a16="http://schemas.microsoft.com/office/drawing/2014/main" id="{1FEB215A-3978-48D4-A0C9-5E5A8B711CD7}"/>
                  </a:ext>
                </a:extLst>
              </p:cNvPr>
              <p:cNvSpPr/>
              <p:nvPr/>
            </p:nvSpPr>
            <p:spPr bwMode="auto">
              <a:xfrm>
                <a:off x="7984633" y="5086480"/>
                <a:ext cx="1014989" cy="877683"/>
              </a:xfrm>
              <a:custGeom>
                <a:avLst/>
                <a:gdLst>
                  <a:gd name="T0" fmla="*/ 368 w 372"/>
                  <a:gd name="T1" fmla="*/ 313 h 321"/>
                  <a:gd name="T2" fmla="*/ 311 w 372"/>
                  <a:gd name="T3" fmla="*/ 276 h 321"/>
                  <a:gd name="T4" fmla="*/ 272 w 372"/>
                  <a:gd name="T5" fmla="*/ 220 h 321"/>
                  <a:gd name="T6" fmla="*/ 197 w 372"/>
                  <a:gd name="T7" fmla="*/ 155 h 321"/>
                  <a:gd name="T8" fmla="*/ 137 w 372"/>
                  <a:gd name="T9" fmla="*/ 127 h 321"/>
                  <a:gd name="T10" fmla="*/ 102 w 372"/>
                  <a:gd name="T11" fmla="*/ 73 h 321"/>
                  <a:gd name="T12" fmla="*/ 70 w 372"/>
                  <a:gd name="T13" fmla="*/ 21 h 321"/>
                  <a:gd name="T14" fmla="*/ 49 w 372"/>
                  <a:gd name="T15" fmla="*/ 5 h 321"/>
                  <a:gd name="T16" fmla="*/ 6 w 372"/>
                  <a:gd name="T17" fmla="*/ 1 h 321"/>
                  <a:gd name="T18" fmla="*/ 4 w 372"/>
                  <a:gd name="T19" fmla="*/ 4 h 321"/>
                  <a:gd name="T20" fmla="*/ 3 w 372"/>
                  <a:gd name="T21" fmla="*/ 6 h 321"/>
                  <a:gd name="T22" fmla="*/ 23 w 372"/>
                  <a:gd name="T23" fmla="*/ 66 h 321"/>
                  <a:gd name="T24" fmla="*/ 10 w 372"/>
                  <a:gd name="T25" fmla="*/ 152 h 321"/>
                  <a:gd name="T26" fmla="*/ 16 w 372"/>
                  <a:gd name="T27" fmla="*/ 158 h 321"/>
                  <a:gd name="T28" fmla="*/ 60 w 372"/>
                  <a:gd name="T29" fmla="*/ 106 h 321"/>
                  <a:gd name="T30" fmla="*/ 62 w 372"/>
                  <a:gd name="T31" fmla="*/ 101 h 321"/>
                  <a:gd name="T32" fmla="*/ 117 w 372"/>
                  <a:gd name="T33" fmla="*/ 186 h 321"/>
                  <a:gd name="T34" fmla="*/ 174 w 372"/>
                  <a:gd name="T35" fmla="*/ 198 h 321"/>
                  <a:gd name="T36" fmla="*/ 187 w 372"/>
                  <a:gd name="T37" fmla="*/ 201 h 321"/>
                  <a:gd name="T38" fmla="*/ 207 w 372"/>
                  <a:gd name="T39" fmla="*/ 209 h 321"/>
                  <a:gd name="T40" fmla="*/ 225 w 372"/>
                  <a:gd name="T41" fmla="*/ 221 h 321"/>
                  <a:gd name="T42" fmla="*/ 287 w 372"/>
                  <a:gd name="T43" fmla="*/ 288 h 321"/>
                  <a:gd name="T44" fmla="*/ 367 w 372"/>
                  <a:gd name="T45" fmla="*/ 321 h 321"/>
                  <a:gd name="T46" fmla="*/ 368 w 372"/>
                  <a:gd name="T47" fmla="*/ 313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72" h="321">
                    <a:moveTo>
                      <a:pt x="368" y="313"/>
                    </a:moveTo>
                    <a:cubicBezTo>
                      <a:pt x="347" y="304"/>
                      <a:pt x="327" y="292"/>
                      <a:pt x="311" y="276"/>
                    </a:cubicBezTo>
                    <a:cubicBezTo>
                      <a:pt x="295" y="260"/>
                      <a:pt x="284" y="240"/>
                      <a:pt x="272" y="220"/>
                    </a:cubicBezTo>
                    <a:cubicBezTo>
                      <a:pt x="254" y="190"/>
                      <a:pt x="233" y="165"/>
                      <a:pt x="197" y="155"/>
                    </a:cubicBezTo>
                    <a:cubicBezTo>
                      <a:pt x="174" y="149"/>
                      <a:pt x="155" y="145"/>
                      <a:pt x="137" y="127"/>
                    </a:cubicBezTo>
                    <a:cubicBezTo>
                      <a:pt x="122" y="111"/>
                      <a:pt x="112" y="91"/>
                      <a:pt x="102" y="73"/>
                    </a:cubicBezTo>
                    <a:cubicBezTo>
                      <a:pt x="92" y="55"/>
                      <a:pt x="82" y="37"/>
                      <a:pt x="70" y="21"/>
                    </a:cubicBezTo>
                    <a:cubicBezTo>
                      <a:pt x="65" y="15"/>
                      <a:pt x="56" y="7"/>
                      <a:pt x="49" y="5"/>
                    </a:cubicBezTo>
                    <a:cubicBezTo>
                      <a:pt x="34" y="1"/>
                      <a:pt x="20" y="5"/>
                      <a:pt x="6" y="1"/>
                    </a:cubicBezTo>
                    <a:cubicBezTo>
                      <a:pt x="4" y="0"/>
                      <a:pt x="2" y="3"/>
                      <a:pt x="4" y="4"/>
                    </a:cubicBezTo>
                    <a:cubicBezTo>
                      <a:pt x="3" y="5"/>
                      <a:pt x="3" y="6"/>
                      <a:pt x="3" y="6"/>
                    </a:cubicBezTo>
                    <a:cubicBezTo>
                      <a:pt x="0" y="27"/>
                      <a:pt x="17" y="48"/>
                      <a:pt x="23" y="66"/>
                    </a:cubicBezTo>
                    <a:cubicBezTo>
                      <a:pt x="33" y="95"/>
                      <a:pt x="21" y="126"/>
                      <a:pt x="10" y="152"/>
                    </a:cubicBezTo>
                    <a:cubicBezTo>
                      <a:pt x="9" y="155"/>
                      <a:pt x="13" y="159"/>
                      <a:pt x="16" y="158"/>
                    </a:cubicBezTo>
                    <a:cubicBezTo>
                      <a:pt x="40" y="149"/>
                      <a:pt x="53" y="129"/>
                      <a:pt x="60" y="106"/>
                    </a:cubicBezTo>
                    <a:cubicBezTo>
                      <a:pt x="60" y="104"/>
                      <a:pt x="61" y="103"/>
                      <a:pt x="62" y="101"/>
                    </a:cubicBezTo>
                    <a:cubicBezTo>
                      <a:pt x="82" y="130"/>
                      <a:pt x="80" y="169"/>
                      <a:pt x="117" y="186"/>
                    </a:cubicBezTo>
                    <a:cubicBezTo>
                      <a:pt x="134" y="194"/>
                      <a:pt x="155" y="195"/>
                      <a:pt x="174" y="198"/>
                    </a:cubicBezTo>
                    <a:cubicBezTo>
                      <a:pt x="179" y="198"/>
                      <a:pt x="183" y="199"/>
                      <a:pt x="187" y="201"/>
                    </a:cubicBezTo>
                    <a:cubicBezTo>
                      <a:pt x="194" y="203"/>
                      <a:pt x="201" y="206"/>
                      <a:pt x="207" y="209"/>
                    </a:cubicBezTo>
                    <a:cubicBezTo>
                      <a:pt x="213" y="212"/>
                      <a:pt x="219" y="216"/>
                      <a:pt x="225" y="221"/>
                    </a:cubicBezTo>
                    <a:cubicBezTo>
                      <a:pt x="249" y="240"/>
                      <a:pt x="265" y="266"/>
                      <a:pt x="287" y="288"/>
                    </a:cubicBezTo>
                    <a:cubicBezTo>
                      <a:pt x="309" y="310"/>
                      <a:pt x="336" y="321"/>
                      <a:pt x="367" y="321"/>
                    </a:cubicBezTo>
                    <a:cubicBezTo>
                      <a:pt x="372" y="321"/>
                      <a:pt x="372" y="314"/>
                      <a:pt x="368" y="3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33" name="î$ḻíḍe">
                <a:extLst>
                  <a:ext uri="{FF2B5EF4-FFF2-40B4-BE49-F238E27FC236}">
                    <a16:creationId xmlns:a16="http://schemas.microsoft.com/office/drawing/2014/main" id="{2A7BCFC5-6F5A-47A6-90ED-F62E3BBE2026}"/>
                  </a:ext>
                </a:extLst>
              </p:cNvPr>
              <p:cNvSpPr/>
              <p:nvPr/>
            </p:nvSpPr>
            <p:spPr bwMode="auto">
              <a:xfrm>
                <a:off x="9150390" y="5898202"/>
                <a:ext cx="659608" cy="352689"/>
              </a:xfrm>
              <a:custGeom>
                <a:avLst/>
                <a:gdLst>
                  <a:gd name="T0" fmla="*/ 238 w 242"/>
                  <a:gd name="T1" fmla="*/ 121 h 129"/>
                  <a:gd name="T2" fmla="*/ 109 w 242"/>
                  <a:gd name="T3" fmla="*/ 42 h 129"/>
                  <a:gd name="T4" fmla="*/ 79 w 242"/>
                  <a:gd name="T5" fmla="*/ 16 h 129"/>
                  <a:gd name="T6" fmla="*/ 37 w 242"/>
                  <a:gd name="T7" fmla="*/ 3 h 129"/>
                  <a:gd name="T8" fmla="*/ 33 w 242"/>
                  <a:gd name="T9" fmla="*/ 3 h 129"/>
                  <a:gd name="T10" fmla="*/ 31 w 242"/>
                  <a:gd name="T11" fmla="*/ 4 h 129"/>
                  <a:gd name="T12" fmla="*/ 16 w 242"/>
                  <a:gd name="T13" fmla="*/ 14 h 129"/>
                  <a:gd name="T14" fmla="*/ 8 w 242"/>
                  <a:gd name="T15" fmla="*/ 48 h 129"/>
                  <a:gd name="T16" fmla="*/ 73 w 242"/>
                  <a:gd name="T17" fmla="*/ 64 h 129"/>
                  <a:gd name="T18" fmla="*/ 117 w 242"/>
                  <a:gd name="T19" fmla="*/ 83 h 129"/>
                  <a:gd name="T20" fmla="*/ 155 w 242"/>
                  <a:gd name="T21" fmla="*/ 105 h 129"/>
                  <a:gd name="T22" fmla="*/ 172 w 242"/>
                  <a:gd name="T23" fmla="*/ 114 h 129"/>
                  <a:gd name="T24" fmla="*/ 195 w 242"/>
                  <a:gd name="T25" fmla="*/ 122 h 129"/>
                  <a:gd name="T26" fmla="*/ 236 w 242"/>
                  <a:gd name="T27" fmla="*/ 129 h 129"/>
                  <a:gd name="T28" fmla="*/ 238 w 242"/>
                  <a:gd name="T29" fmla="*/ 121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2" h="129">
                    <a:moveTo>
                      <a:pt x="238" y="121"/>
                    </a:moveTo>
                    <a:cubicBezTo>
                      <a:pt x="192" y="101"/>
                      <a:pt x="145" y="76"/>
                      <a:pt x="109" y="42"/>
                    </a:cubicBezTo>
                    <a:cubicBezTo>
                      <a:pt x="100" y="35"/>
                      <a:pt x="90" y="24"/>
                      <a:pt x="79" y="16"/>
                    </a:cubicBezTo>
                    <a:cubicBezTo>
                      <a:pt x="67" y="6"/>
                      <a:pt x="53" y="0"/>
                      <a:pt x="37" y="3"/>
                    </a:cubicBezTo>
                    <a:cubicBezTo>
                      <a:pt x="36" y="2"/>
                      <a:pt x="35" y="2"/>
                      <a:pt x="33" y="3"/>
                    </a:cubicBezTo>
                    <a:cubicBezTo>
                      <a:pt x="33" y="3"/>
                      <a:pt x="32" y="4"/>
                      <a:pt x="31" y="4"/>
                    </a:cubicBezTo>
                    <a:cubicBezTo>
                      <a:pt x="25" y="6"/>
                      <a:pt x="20" y="10"/>
                      <a:pt x="16" y="14"/>
                    </a:cubicBezTo>
                    <a:cubicBezTo>
                      <a:pt x="6" y="23"/>
                      <a:pt x="0" y="34"/>
                      <a:pt x="8" y="48"/>
                    </a:cubicBezTo>
                    <a:cubicBezTo>
                      <a:pt x="19" y="69"/>
                      <a:pt x="54" y="62"/>
                      <a:pt x="73" y="64"/>
                    </a:cubicBezTo>
                    <a:cubicBezTo>
                      <a:pt x="88" y="65"/>
                      <a:pt x="103" y="75"/>
                      <a:pt x="117" y="83"/>
                    </a:cubicBezTo>
                    <a:cubicBezTo>
                      <a:pt x="130" y="90"/>
                      <a:pt x="142" y="98"/>
                      <a:pt x="155" y="105"/>
                    </a:cubicBezTo>
                    <a:cubicBezTo>
                      <a:pt x="161" y="109"/>
                      <a:pt x="167" y="111"/>
                      <a:pt x="172" y="114"/>
                    </a:cubicBezTo>
                    <a:cubicBezTo>
                      <a:pt x="180" y="118"/>
                      <a:pt x="187" y="121"/>
                      <a:pt x="195" y="122"/>
                    </a:cubicBezTo>
                    <a:cubicBezTo>
                      <a:pt x="208" y="126"/>
                      <a:pt x="221" y="128"/>
                      <a:pt x="236" y="129"/>
                    </a:cubicBezTo>
                    <a:cubicBezTo>
                      <a:pt x="240" y="129"/>
                      <a:pt x="242" y="122"/>
                      <a:pt x="238" y="121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27" name="îSļîďè">
                <a:extLst>
                  <a:ext uri="{FF2B5EF4-FFF2-40B4-BE49-F238E27FC236}">
                    <a16:creationId xmlns:a16="http://schemas.microsoft.com/office/drawing/2014/main" id="{A7483549-AFE9-4742-BE46-CEBA64425611}"/>
                  </a:ext>
                </a:extLst>
              </p:cNvPr>
              <p:cNvSpPr/>
              <p:nvPr/>
            </p:nvSpPr>
            <p:spPr bwMode="auto">
              <a:xfrm>
                <a:off x="2215081" y="3633996"/>
                <a:ext cx="7761838" cy="3224004"/>
              </a:xfrm>
              <a:custGeom>
                <a:avLst/>
                <a:gdLst>
                  <a:gd name="T0" fmla="*/ 2598 w 2844"/>
                  <a:gd name="T1" fmla="*/ 731 h 1180"/>
                  <a:gd name="T2" fmla="*/ 2416 w 2844"/>
                  <a:gd name="T3" fmla="*/ 604 h 1180"/>
                  <a:gd name="T4" fmla="*/ 2284 w 2844"/>
                  <a:gd name="T5" fmla="*/ 556 h 1180"/>
                  <a:gd name="T6" fmla="*/ 2162 w 2844"/>
                  <a:gd name="T7" fmla="*/ 482 h 1180"/>
                  <a:gd name="T8" fmla="*/ 2077 w 2844"/>
                  <a:gd name="T9" fmla="*/ 458 h 1180"/>
                  <a:gd name="T10" fmla="*/ 1861 w 2844"/>
                  <a:gd name="T11" fmla="*/ 646 h 1180"/>
                  <a:gd name="T12" fmla="*/ 1781 w 2844"/>
                  <a:gd name="T13" fmla="*/ 461 h 1180"/>
                  <a:gd name="T14" fmla="*/ 1552 w 2844"/>
                  <a:gd name="T15" fmla="*/ 219 h 1180"/>
                  <a:gd name="T16" fmla="*/ 1446 w 2844"/>
                  <a:gd name="T17" fmla="*/ 123 h 1180"/>
                  <a:gd name="T18" fmla="*/ 1341 w 2844"/>
                  <a:gd name="T19" fmla="*/ 65 h 1180"/>
                  <a:gd name="T20" fmla="*/ 1078 w 2844"/>
                  <a:gd name="T21" fmla="*/ 497 h 1180"/>
                  <a:gd name="T22" fmla="*/ 987 w 2844"/>
                  <a:gd name="T23" fmla="*/ 538 h 1180"/>
                  <a:gd name="T24" fmla="*/ 881 w 2844"/>
                  <a:gd name="T25" fmla="*/ 481 h 1180"/>
                  <a:gd name="T26" fmla="*/ 835 w 2844"/>
                  <a:gd name="T27" fmla="*/ 425 h 1180"/>
                  <a:gd name="T28" fmla="*/ 698 w 2844"/>
                  <a:gd name="T29" fmla="*/ 313 h 1180"/>
                  <a:gd name="T30" fmla="*/ 437 w 2844"/>
                  <a:gd name="T31" fmla="*/ 541 h 1180"/>
                  <a:gd name="T32" fmla="*/ 263 w 2844"/>
                  <a:gd name="T33" fmla="*/ 535 h 1180"/>
                  <a:gd name="T34" fmla="*/ 7 w 2844"/>
                  <a:gd name="T35" fmla="*/ 880 h 1180"/>
                  <a:gd name="T36" fmla="*/ 253 w 2844"/>
                  <a:gd name="T37" fmla="*/ 628 h 1180"/>
                  <a:gd name="T38" fmla="*/ 321 w 2844"/>
                  <a:gd name="T39" fmla="*/ 522 h 1180"/>
                  <a:gd name="T40" fmla="*/ 460 w 2844"/>
                  <a:gd name="T41" fmla="*/ 572 h 1180"/>
                  <a:gd name="T42" fmla="*/ 688 w 2844"/>
                  <a:gd name="T43" fmla="*/ 373 h 1180"/>
                  <a:gd name="T44" fmla="*/ 816 w 2844"/>
                  <a:gd name="T45" fmla="*/ 469 h 1180"/>
                  <a:gd name="T46" fmla="*/ 957 w 2844"/>
                  <a:gd name="T47" fmla="*/ 582 h 1180"/>
                  <a:gd name="T48" fmla="*/ 940 w 2844"/>
                  <a:gd name="T49" fmla="*/ 601 h 1180"/>
                  <a:gd name="T50" fmla="*/ 658 w 2844"/>
                  <a:gd name="T51" fmla="*/ 443 h 1180"/>
                  <a:gd name="T52" fmla="*/ 552 w 2844"/>
                  <a:gd name="T53" fmla="*/ 549 h 1180"/>
                  <a:gd name="T54" fmla="*/ 716 w 2844"/>
                  <a:gd name="T55" fmla="*/ 564 h 1180"/>
                  <a:gd name="T56" fmla="*/ 824 w 2844"/>
                  <a:gd name="T57" fmla="*/ 614 h 1180"/>
                  <a:gd name="T58" fmla="*/ 779 w 2844"/>
                  <a:gd name="T59" fmla="*/ 825 h 1180"/>
                  <a:gd name="T60" fmla="*/ 684 w 2844"/>
                  <a:gd name="T61" fmla="*/ 875 h 1180"/>
                  <a:gd name="T62" fmla="*/ 531 w 2844"/>
                  <a:gd name="T63" fmla="*/ 1116 h 1180"/>
                  <a:gd name="T64" fmla="*/ 528 w 2844"/>
                  <a:gd name="T65" fmla="*/ 1123 h 1180"/>
                  <a:gd name="T66" fmla="*/ 664 w 2844"/>
                  <a:gd name="T67" fmla="*/ 967 h 1180"/>
                  <a:gd name="T68" fmla="*/ 758 w 2844"/>
                  <a:gd name="T69" fmla="*/ 911 h 1180"/>
                  <a:gd name="T70" fmla="*/ 932 w 2844"/>
                  <a:gd name="T71" fmla="*/ 705 h 1180"/>
                  <a:gd name="T72" fmla="*/ 1040 w 2844"/>
                  <a:gd name="T73" fmla="*/ 564 h 1180"/>
                  <a:gd name="T74" fmla="*/ 1157 w 2844"/>
                  <a:gd name="T75" fmla="*/ 463 h 1180"/>
                  <a:gd name="T76" fmla="*/ 1361 w 2844"/>
                  <a:gd name="T77" fmla="*/ 119 h 1180"/>
                  <a:gd name="T78" fmla="*/ 1420 w 2844"/>
                  <a:gd name="T79" fmla="*/ 156 h 1180"/>
                  <a:gd name="T80" fmla="*/ 1496 w 2844"/>
                  <a:gd name="T81" fmla="*/ 220 h 1180"/>
                  <a:gd name="T82" fmla="*/ 1702 w 2844"/>
                  <a:gd name="T83" fmla="*/ 467 h 1180"/>
                  <a:gd name="T84" fmla="*/ 1778 w 2844"/>
                  <a:gd name="T85" fmla="*/ 593 h 1180"/>
                  <a:gd name="T86" fmla="*/ 2074 w 2844"/>
                  <a:gd name="T87" fmla="*/ 921 h 1180"/>
                  <a:gd name="T88" fmla="*/ 2271 w 2844"/>
                  <a:gd name="T89" fmla="*/ 1146 h 1180"/>
                  <a:gd name="T90" fmla="*/ 2332 w 2844"/>
                  <a:gd name="T91" fmla="*/ 1165 h 1180"/>
                  <a:gd name="T92" fmla="*/ 2091 w 2844"/>
                  <a:gd name="T93" fmla="*/ 872 h 1180"/>
                  <a:gd name="T94" fmla="*/ 1928 w 2844"/>
                  <a:gd name="T95" fmla="*/ 705 h 1180"/>
                  <a:gd name="T96" fmla="*/ 1983 w 2844"/>
                  <a:gd name="T97" fmla="*/ 665 h 1180"/>
                  <a:gd name="T98" fmla="*/ 2087 w 2844"/>
                  <a:gd name="T99" fmla="*/ 524 h 1180"/>
                  <a:gd name="T100" fmla="*/ 2206 w 2844"/>
                  <a:gd name="T101" fmla="*/ 518 h 1180"/>
                  <a:gd name="T102" fmla="*/ 2374 w 2844"/>
                  <a:gd name="T103" fmla="*/ 668 h 1180"/>
                  <a:gd name="T104" fmla="*/ 2547 w 2844"/>
                  <a:gd name="T105" fmla="*/ 802 h 1180"/>
                  <a:gd name="T106" fmla="*/ 2735 w 2844"/>
                  <a:gd name="T107" fmla="*/ 891 h 1180"/>
                  <a:gd name="T108" fmla="*/ 2840 w 2844"/>
                  <a:gd name="T109" fmla="*/ 937 h 1180"/>
                  <a:gd name="T110" fmla="*/ 663 w 2844"/>
                  <a:gd name="T111" fmla="*/ 938 h 1180"/>
                  <a:gd name="T112" fmla="*/ 1883 w 2844"/>
                  <a:gd name="T113" fmla="*/ 704 h 1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844" h="1180">
                    <a:moveTo>
                      <a:pt x="2840" y="937"/>
                    </a:moveTo>
                    <a:cubicBezTo>
                      <a:pt x="2749" y="886"/>
                      <a:pt x="2683" y="800"/>
                      <a:pt x="2606" y="731"/>
                    </a:cubicBezTo>
                    <a:cubicBezTo>
                      <a:pt x="2604" y="729"/>
                      <a:pt x="2600" y="729"/>
                      <a:pt x="2598" y="731"/>
                    </a:cubicBezTo>
                    <a:cubicBezTo>
                      <a:pt x="2562" y="766"/>
                      <a:pt x="2510" y="711"/>
                      <a:pt x="2485" y="686"/>
                    </a:cubicBezTo>
                    <a:cubicBezTo>
                      <a:pt x="2470" y="670"/>
                      <a:pt x="2454" y="653"/>
                      <a:pt x="2442" y="635"/>
                    </a:cubicBezTo>
                    <a:cubicBezTo>
                      <a:pt x="2435" y="625"/>
                      <a:pt x="2428" y="610"/>
                      <a:pt x="2416" y="604"/>
                    </a:cubicBezTo>
                    <a:cubicBezTo>
                      <a:pt x="2407" y="599"/>
                      <a:pt x="2396" y="605"/>
                      <a:pt x="2388" y="609"/>
                    </a:cubicBezTo>
                    <a:cubicBezTo>
                      <a:pt x="2371" y="618"/>
                      <a:pt x="2360" y="624"/>
                      <a:pt x="2342" y="618"/>
                    </a:cubicBezTo>
                    <a:cubicBezTo>
                      <a:pt x="2315" y="609"/>
                      <a:pt x="2299" y="579"/>
                      <a:pt x="2284" y="556"/>
                    </a:cubicBezTo>
                    <a:cubicBezTo>
                      <a:pt x="2271" y="535"/>
                      <a:pt x="2258" y="513"/>
                      <a:pt x="2237" y="498"/>
                    </a:cubicBezTo>
                    <a:cubicBezTo>
                      <a:pt x="2224" y="489"/>
                      <a:pt x="2210" y="488"/>
                      <a:pt x="2195" y="487"/>
                    </a:cubicBezTo>
                    <a:cubicBezTo>
                      <a:pt x="2184" y="486"/>
                      <a:pt x="2173" y="485"/>
                      <a:pt x="2162" y="482"/>
                    </a:cubicBezTo>
                    <a:cubicBezTo>
                      <a:pt x="2150" y="478"/>
                      <a:pt x="2142" y="469"/>
                      <a:pt x="2134" y="460"/>
                    </a:cubicBezTo>
                    <a:cubicBezTo>
                      <a:pt x="2128" y="452"/>
                      <a:pt x="2121" y="443"/>
                      <a:pt x="2111" y="441"/>
                    </a:cubicBezTo>
                    <a:cubicBezTo>
                      <a:pt x="2098" y="438"/>
                      <a:pt x="2086" y="450"/>
                      <a:pt x="2077" y="458"/>
                    </a:cubicBezTo>
                    <a:cubicBezTo>
                      <a:pt x="2048" y="484"/>
                      <a:pt x="2029" y="520"/>
                      <a:pt x="2005" y="551"/>
                    </a:cubicBezTo>
                    <a:cubicBezTo>
                      <a:pt x="1971" y="596"/>
                      <a:pt x="1933" y="642"/>
                      <a:pt x="1886" y="673"/>
                    </a:cubicBezTo>
                    <a:cubicBezTo>
                      <a:pt x="1877" y="664"/>
                      <a:pt x="1869" y="656"/>
                      <a:pt x="1861" y="646"/>
                    </a:cubicBezTo>
                    <a:cubicBezTo>
                      <a:pt x="1837" y="618"/>
                      <a:pt x="1813" y="581"/>
                      <a:pt x="1810" y="542"/>
                    </a:cubicBezTo>
                    <a:cubicBezTo>
                      <a:pt x="1809" y="526"/>
                      <a:pt x="1813" y="506"/>
                      <a:pt x="1806" y="490"/>
                    </a:cubicBezTo>
                    <a:cubicBezTo>
                      <a:pt x="1800" y="478"/>
                      <a:pt x="1791" y="469"/>
                      <a:pt x="1781" y="461"/>
                    </a:cubicBezTo>
                    <a:cubicBezTo>
                      <a:pt x="1755" y="442"/>
                      <a:pt x="1726" y="430"/>
                      <a:pt x="1699" y="414"/>
                    </a:cubicBezTo>
                    <a:cubicBezTo>
                      <a:pt x="1666" y="393"/>
                      <a:pt x="1640" y="355"/>
                      <a:pt x="1618" y="324"/>
                    </a:cubicBezTo>
                    <a:cubicBezTo>
                      <a:pt x="1595" y="290"/>
                      <a:pt x="1574" y="254"/>
                      <a:pt x="1552" y="219"/>
                    </a:cubicBezTo>
                    <a:cubicBezTo>
                      <a:pt x="1542" y="203"/>
                      <a:pt x="1531" y="186"/>
                      <a:pt x="1520" y="170"/>
                    </a:cubicBezTo>
                    <a:cubicBezTo>
                      <a:pt x="1509" y="155"/>
                      <a:pt x="1498" y="138"/>
                      <a:pt x="1485" y="126"/>
                    </a:cubicBezTo>
                    <a:cubicBezTo>
                      <a:pt x="1470" y="113"/>
                      <a:pt x="1460" y="130"/>
                      <a:pt x="1446" y="123"/>
                    </a:cubicBezTo>
                    <a:cubicBezTo>
                      <a:pt x="1433" y="117"/>
                      <a:pt x="1429" y="94"/>
                      <a:pt x="1425" y="82"/>
                    </a:cubicBezTo>
                    <a:cubicBezTo>
                      <a:pt x="1420" y="61"/>
                      <a:pt x="1417" y="26"/>
                      <a:pt x="1397" y="13"/>
                    </a:cubicBezTo>
                    <a:cubicBezTo>
                      <a:pt x="1377" y="0"/>
                      <a:pt x="1348" y="55"/>
                      <a:pt x="1341" y="65"/>
                    </a:cubicBezTo>
                    <a:cubicBezTo>
                      <a:pt x="1314" y="105"/>
                      <a:pt x="1291" y="147"/>
                      <a:pt x="1267" y="189"/>
                    </a:cubicBezTo>
                    <a:cubicBezTo>
                      <a:pt x="1224" y="264"/>
                      <a:pt x="1183" y="342"/>
                      <a:pt x="1138" y="416"/>
                    </a:cubicBezTo>
                    <a:cubicBezTo>
                      <a:pt x="1121" y="445"/>
                      <a:pt x="1102" y="474"/>
                      <a:pt x="1078" y="497"/>
                    </a:cubicBezTo>
                    <a:cubicBezTo>
                      <a:pt x="1067" y="507"/>
                      <a:pt x="1052" y="517"/>
                      <a:pt x="1037" y="514"/>
                    </a:cubicBezTo>
                    <a:cubicBezTo>
                      <a:pt x="1028" y="512"/>
                      <a:pt x="1022" y="506"/>
                      <a:pt x="1013" y="509"/>
                    </a:cubicBezTo>
                    <a:cubicBezTo>
                      <a:pt x="1002" y="513"/>
                      <a:pt x="993" y="529"/>
                      <a:pt x="987" y="538"/>
                    </a:cubicBezTo>
                    <a:cubicBezTo>
                      <a:pt x="984" y="542"/>
                      <a:pt x="982" y="545"/>
                      <a:pt x="980" y="548"/>
                    </a:cubicBezTo>
                    <a:cubicBezTo>
                      <a:pt x="945" y="540"/>
                      <a:pt x="915" y="518"/>
                      <a:pt x="890" y="492"/>
                    </a:cubicBezTo>
                    <a:cubicBezTo>
                      <a:pt x="887" y="488"/>
                      <a:pt x="884" y="485"/>
                      <a:pt x="881" y="481"/>
                    </a:cubicBezTo>
                    <a:cubicBezTo>
                      <a:pt x="872" y="470"/>
                      <a:pt x="866" y="457"/>
                      <a:pt x="857" y="446"/>
                    </a:cubicBezTo>
                    <a:cubicBezTo>
                      <a:pt x="852" y="439"/>
                      <a:pt x="846" y="434"/>
                      <a:pt x="839" y="429"/>
                    </a:cubicBezTo>
                    <a:cubicBezTo>
                      <a:pt x="838" y="428"/>
                      <a:pt x="837" y="427"/>
                      <a:pt x="835" y="425"/>
                    </a:cubicBezTo>
                    <a:cubicBezTo>
                      <a:pt x="820" y="410"/>
                      <a:pt x="800" y="400"/>
                      <a:pt x="784" y="386"/>
                    </a:cubicBezTo>
                    <a:cubicBezTo>
                      <a:pt x="768" y="372"/>
                      <a:pt x="754" y="357"/>
                      <a:pt x="739" y="342"/>
                    </a:cubicBezTo>
                    <a:cubicBezTo>
                      <a:pt x="727" y="330"/>
                      <a:pt x="715" y="318"/>
                      <a:pt x="698" y="313"/>
                    </a:cubicBezTo>
                    <a:cubicBezTo>
                      <a:pt x="666" y="304"/>
                      <a:pt x="641" y="341"/>
                      <a:pt x="626" y="362"/>
                    </a:cubicBezTo>
                    <a:cubicBezTo>
                      <a:pt x="591" y="410"/>
                      <a:pt x="554" y="457"/>
                      <a:pt x="510" y="498"/>
                    </a:cubicBezTo>
                    <a:cubicBezTo>
                      <a:pt x="491" y="516"/>
                      <a:pt x="466" y="538"/>
                      <a:pt x="437" y="541"/>
                    </a:cubicBezTo>
                    <a:cubicBezTo>
                      <a:pt x="410" y="545"/>
                      <a:pt x="390" y="516"/>
                      <a:pt x="373" y="499"/>
                    </a:cubicBezTo>
                    <a:cubicBezTo>
                      <a:pt x="355" y="479"/>
                      <a:pt x="331" y="456"/>
                      <a:pt x="304" y="477"/>
                    </a:cubicBezTo>
                    <a:cubicBezTo>
                      <a:pt x="286" y="491"/>
                      <a:pt x="275" y="517"/>
                      <a:pt x="263" y="535"/>
                    </a:cubicBezTo>
                    <a:cubicBezTo>
                      <a:pt x="248" y="560"/>
                      <a:pt x="233" y="584"/>
                      <a:pt x="217" y="609"/>
                    </a:cubicBezTo>
                    <a:cubicBezTo>
                      <a:pt x="157" y="707"/>
                      <a:pt x="92" y="802"/>
                      <a:pt x="3" y="876"/>
                    </a:cubicBezTo>
                    <a:cubicBezTo>
                      <a:pt x="0" y="878"/>
                      <a:pt x="4" y="882"/>
                      <a:pt x="7" y="880"/>
                    </a:cubicBezTo>
                    <a:cubicBezTo>
                      <a:pt x="7" y="880"/>
                      <a:pt x="7" y="880"/>
                      <a:pt x="7" y="880"/>
                    </a:cubicBezTo>
                    <a:cubicBezTo>
                      <a:pt x="22" y="884"/>
                      <a:pt x="87" y="828"/>
                      <a:pt x="94" y="822"/>
                    </a:cubicBezTo>
                    <a:cubicBezTo>
                      <a:pt x="158" y="765"/>
                      <a:pt x="209" y="701"/>
                      <a:pt x="253" y="628"/>
                    </a:cubicBezTo>
                    <a:cubicBezTo>
                      <a:pt x="262" y="612"/>
                      <a:pt x="273" y="597"/>
                      <a:pt x="281" y="580"/>
                    </a:cubicBezTo>
                    <a:cubicBezTo>
                      <a:pt x="288" y="566"/>
                      <a:pt x="295" y="551"/>
                      <a:pt x="304" y="537"/>
                    </a:cubicBezTo>
                    <a:cubicBezTo>
                      <a:pt x="308" y="531"/>
                      <a:pt x="313" y="523"/>
                      <a:pt x="321" y="522"/>
                    </a:cubicBezTo>
                    <a:cubicBezTo>
                      <a:pt x="330" y="521"/>
                      <a:pt x="338" y="530"/>
                      <a:pt x="343" y="536"/>
                    </a:cubicBezTo>
                    <a:cubicBezTo>
                      <a:pt x="355" y="548"/>
                      <a:pt x="364" y="561"/>
                      <a:pt x="377" y="572"/>
                    </a:cubicBezTo>
                    <a:cubicBezTo>
                      <a:pt x="404" y="594"/>
                      <a:pt x="432" y="587"/>
                      <a:pt x="460" y="572"/>
                    </a:cubicBezTo>
                    <a:cubicBezTo>
                      <a:pt x="498" y="551"/>
                      <a:pt x="532" y="524"/>
                      <a:pt x="564" y="496"/>
                    </a:cubicBezTo>
                    <a:cubicBezTo>
                      <a:pt x="600" y="465"/>
                      <a:pt x="634" y="432"/>
                      <a:pt x="665" y="397"/>
                    </a:cubicBezTo>
                    <a:cubicBezTo>
                      <a:pt x="672" y="389"/>
                      <a:pt x="680" y="381"/>
                      <a:pt x="688" y="373"/>
                    </a:cubicBezTo>
                    <a:cubicBezTo>
                      <a:pt x="700" y="362"/>
                      <a:pt x="710" y="369"/>
                      <a:pt x="719" y="378"/>
                    </a:cubicBezTo>
                    <a:cubicBezTo>
                      <a:pt x="736" y="395"/>
                      <a:pt x="751" y="414"/>
                      <a:pt x="767" y="431"/>
                    </a:cubicBezTo>
                    <a:cubicBezTo>
                      <a:pt x="782" y="447"/>
                      <a:pt x="803" y="451"/>
                      <a:pt x="816" y="469"/>
                    </a:cubicBezTo>
                    <a:cubicBezTo>
                      <a:pt x="827" y="484"/>
                      <a:pt x="834" y="502"/>
                      <a:pt x="845" y="517"/>
                    </a:cubicBezTo>
                    <a:cubicBezTo>
                      <a:pt x="871" y="550"/>
                      <a:pt x="918" y="564"/>
                      <a:pt x="955" y="581"/>
                    </a:cubicBezTo>
                    <a:cubicBezTo>
                      <a:pt x="956" y="582"/>
                      <a:pt x="956" y="582"/>
                      <a:pt x="957" y="582"/>
                    </a:cubicBezTo>
                    <a:cubicBezTo>
                      <a:pt x="954" y="587"/>
                      <a:pt x="951" y="591"/>
                      <a:pt x="948" y="596"/>
                    </a:cubicBezTo>
                    <a:cubicBezTo>
                      <a:pt x="947" y="598"/>
                      <a:pt x="946" y="599"/>
                      <a:pt x="945" y="601"/>
                    </a:cubicBezTo>
                    <a:cubicBezTo>
                      <a:pt x="943" y="600"/>
                      <a:pt x="941" y="600"/>
                      <a:pt x="940" y="601"/>
                    </a:cubicBezTo>
                    <a:cubicBezTo>
                      <a:pt x="893" y="595"/>
                      <a:pt x="852" y="571"/>
                      <a:pt x="817" y="540"/>
                    </a:cubicBezTo>
                    <a:cubicBezTo>
                      <a:pt x="783" y="511"/>
                      <a:pt x="759" y="474"/>
                      <a:pt x="728" y="442"/>
                    </a:cubicBezTo>
                    <a:cubicBezTo>
                      <a:pt x="706" y="417"/>
                      <a:pt x="682" y="422"/>
                      <a:pt x="658" y="443"/>
                    </a:cubicBezTo>
                    <a:cubicBezTo>
                      <a:pt x="640" y="458"/>
                      <a:pt x="626" y="477"/>
                      <a:pt x="610" y="493"/>
                    </a:cubicBezTo>
                    <a:cubicBezTo>
                      <a:pt x="592" y="512"/>
                      <a:pt x="572" y="527"/>
                      <a:pt x="549" y="540"/>
                    </a:cubicBezTo>
                    <a:cubicBezTo>
                      <a:pt x="545" y="542"/>
                      <a:pt x="547" y="549"/>
                      <a:pt x="552" y="549"/>
                    </a:cubicBezTo>
                    <a:cubicBezTo>
                      <a:pt x="574" y="548"/>
                      <a:pt x="596" y="545"/>
                      <a:pt x="618" y="539"/>
                    </a:cubicBezTo>
                    <a:cubicBezTo>
                      <a:pt x="638" y="534"/>
                      <a:pt x="665" y="521"/>
                      <a:pt x="685" y="531"/>
                    </a:cubicBezTo>
                    <a:cubicBezTo>
                      <a:pt x="698" y="538"/>
                      <a:pt x="707" y="553"/>
                      <a:pt x="716" y="564"/>
                    </a:cubicBezTo>
                    <a:cubicBezTo>
                      <a:pt x="726" y="576"/>
                      <a:pt x="738" y="586"/>
                      <a:pt x="753" y="591"/>
                    </a:cubicBezTo>
                    <a:cubicBezTo>
                      <a:pt x="754" y="591"/>
                      <a:pt x="756" y="591"/>
                      <a:pt x="757" y="589"/>
                    </a:cubicBezTo>
                    <a:cubicBezTo>
                      <a:pt x="771" y="572"/>
                      <a:pt x="812" y="606"/>
                      <a:pt x="824" y="614"/>
                    </a:cubicBezTo>
                    <a:cubicBezTo>
                      <a:pt x="852" y="631"/>
                      <a:pt x="885" y="639"/>
                      <a:pt x="917" y="643"/>
                    </a:cubicBezTo>
                    <a:cubicBezTo>
                      <a:pt x="901" y="668"/>
                      <a:pt x="884" y="692"/>
                      <a:pt x="867" y="716"/>
                    </a:cubicBezTo>
                    <a:cubicBezTo>
                      <a:pt x="839" y="754"/>
                      <a:pt x="810" y="790"/>
                      <a:pt x="779" y="825"/>
                    </a:cubicBezTo>
                    <a:cubicBezTo>
                      <a:pt x="765" y="840"/>
                      <a:pt x="752" y="857"/>
                      <a:pt x="736" y="870"/>
                    </a:cubicBezTo>
                    <a:cubicBezTo>
                      <a:pt x="721" y="883"/>
                      <a:pt x="705" y="877"/>
                      <a:pt x="689" y="872"/>
                    </a:cubicBezTo>
                    <a:cubicBezTo>
                      <a:pt x="686" y="871"/>
                      <a:pt x="684" y="873"/>
                      <a:pt x="684" y="875"/>
                    </a:cubicBezTo>
                    <a:cubicBezTo>
                      <a:pt x="665" y="924"/>
                      <a:pt x="637" y="967"/>
                      <a:pt x="611" y="1012"/>
                    </a:cubicBezTo>
                    <a:cubicBezTo>
                      <a:pt x="590" y="1050"/>
                      <a:pt x="568" y="1091"/>
                      <a:pt x="531" y="1116"/>
                    </a:cubicBezTo>
                    <a:cubicBezTo>
                      <a:pt x="531" y="1116"/>
                      <a:pt x="531" y="1116"/>
                      <a:pt x="531" y="1116"/>
                    </a:cubicBezTo>
                    <a:cubicBezTo>
                      <a:pt x="530" y="1117"/>
                      <a:pt x="529" y="1117"/>
                      <a:pt x="528" y="1118"/>
                    </a:cubicBezTo>
                    <a:cubicBezTo>
                      <a:pt x="528" y="1118"/>
                      <a:pt x="528" y="1118"/>
                      <a:pt x="528" y="1118"/>
                    </a:cubicBezTo>
                    <a:cubicBezTo>
                      <a:pt x="526" y="1119"/>
                      <a:pt x="527" y="1122"/>
                      <a:pt x="528" y="1123"/>
                    </a:cubicBezTo>
                    <a:cubicBezTo>
                      <a:pt x="529" y="1124"/>
                      <a:pt x="531" y="1125"/>
                      <a:pt x="533" y="1124"/>
                    </a:cubicBezTo>
                    <a:cubicBezTo>
                      <a:pt x="569" y="1114"/>
                      <a:pt x="596" y="1084"/>
                      <a:pt x="619" y="1056"/>
                    </a:cubicBezTo>
                    <a:cubicBezTo>
                      <a:pt x="640" y="1030"/>
                      <a:pt x="649" y="996"/>
                      <a:pt x="664" y="967"/>
                    </a:cubicBezTo>
                    <a:cubicBezTo>
                      <a:pt x="672" y="952"/>
                      <a:pt x="682" y="937"/>
                      <a:pt x="696" y="927"/>
                    </a:cubicBezTo>
                    <a:cubicBezTo>
                      <a:pt x="706" y="920"/>
                      <a:pt x="720" y="921"/>
                      <a:pt x="732" y="920"/>
                    </a:cubicBezTo>
                    <a:cubicBezTo>
                      <a:pt x="741" y="919"/>
                      <a:pt x="750" y="916"/>
                      <a:pt x="758" y="911"/>
                    </a:cubicBezTo>
                    <a:cubicBezTo>
                      <a:pt x="773" y="903"/>
                      <a:pt x="785" y="889"/>
                      <a:pt x="795" y="876"/>
                    </a:cubicBezTo>
                    <a:cubicBezTo>
                      <a:pt x="810" y="858"/>
                      <a:pt x="824" y="840"/>
                      <a:pt x="839" y="822"/>
                    </a:cubicBezTo>
                    <a:cubicBezTo>
                      <a:pt x="870" y="783"/>
                      <a:pt x="901" y="744"/>
                      <a:pt x="932" y="705"/>
                    </a:cubicBezTo>
                    <a:cubicBezTo>
                      <a:pt x="945" y="688"/>
                      <a:pt x="957" y="670"/>
                      <a:pt x="970" y="652"/>
                    </a:cubicBezTo>
                    <a:cubicBezTo>
                      <a:pt x="981" y="635"/>
                      <a:pt x="994" y="620"/>
                      <a:pt x="1005" y="602"/>
                    </a:cubicBezTo>
                    <a:cubicBezTo>
                      <a:pt x="1013" y="588"/>
                      <a:pt x="1023" y="570"/>
                      <a:pt x="1040" y="564"/>
                    </a:cubicBezTo>
                    <a:cubicBezTo>
                      <a:pt x="1048" y="561"/>
                      <a:pt x="1056" y="568"/>
                      <a:pt x="1064" y="567"/>
                    </a:cubicBezTo>
                    <a:cubicBezTo>
                      <a:pt x="1073" y="565"/>
                      <a:pt x="1080" y="562"/>
                      <a:pt x="1086" y="557"/>
                    </a:cubicBezTo>
                    <a:cubicBezTo>
                      <a:pt x="1116" y="532"/>
                      <a:pt x="1136" y="496"/>
                      <a:pt x="1157" y="463"/>
                    </a:cubicBezTo>
                    <a:cubicBezTo>
                      <a:pt x="1181" y="423"/>
                      <a:pt x="1209" y="385"/>
                      <a:pt x="1234" y="345"/>
                    </a:cubicBezTo>
                    <a:cubicBezTo>
                      <a:pt x="1260" y="303"/>
                      <a:pt x="1286" y="260"/>
                      <a:pt x="1310" y="217"/>
                    </a:cubicBezTo>
                    <a:cubicBezTo>
                      <a:pt x="1328" y="185"/>
                      <a:pt x="1341" y="150"/>
                      <a:pt x="1361" y="119"/>
                    </a:cubicBezTo>
                    <a:cubicBezTo>
                      <a:pt x="1366" y="111"/>
                      <a:pt x="1372" y="104"/>
                      <a:pt x="1382" y="101"/>
                    </a:cubicBezTo>
                    <a:cubicBezTo>
                      <a:pt x="1390" y="98"/>
                      <a:pt x="1396" y="109"/>
                      <a:pt x="1399" y="115"/>
                    </a:cubicBezTo>
                    <a:cubicBezTo>
                      <a:pt x="1407" y="129"/>
                      <a:pt x="1413" y="143"/>
                      <a:pt x="1420" y="156"/>
                    </a:cubicBezTo>
                    <a:cubicBezTo>
                      <a:pt x="1426" y="167"/>
                      <a:pt x="1433" y="181"/>
                      <a:pt x="1445" y="185"/>
                    </a:cubicBezTo>
                    <a:cubicBezTo>
                      <a:pt x="1456" y="188"/>
                      <a:pt x="1467" y="188"/>
                      <a:pt x="1477" y="196"/>
                    </a:cubicBezTo>
                    <a:cubicBezTo>
                      <a:pt x="1485" y="202"/>
                      <a:pt x="1491" y="212"/>
                      <a:pt x="1496" y="220"/>
                    </a:cubicBezTo>
                    <a:cubicBezTo>
                      <a:pt x="1518" y="254"/>
                      <a:pt x="1540" y="286"/>
                      <a:pt x="1566" y="316"/>
                    </a:cubicBezTo>
                    <a:cubicBezTo>
                      <a:pt x="1599" y="352"/>
                      <a:pt x="1627" y="391"/>
                      <a:pt x="1660" y="427"/>
                    </a:cubicBezTo>
                    <a:cubicBezTo>
                      <a:pt x="1673" y="442"/>
                      <a:pt x="1687" y="455"/>
                      <a:pt x="1702" y="467"/>
                    </a:cubicBezTo>
                    <a:cubicBezTo>
                      <a:pt x="1717" y="480"/>
                      <a:pt x="1736" y="490"/>
                      <a:pt x="1750" y="504"/>
                    </a:cubicBezTo>
                    <a:cubicBezTo>
                      <a:pt x="1761" y="514"/>
                      <a:pt x="1764" y="529"/>
                      <a:pt x="1767" y="543"/>
                    </a:cubicBezTo>
                    <a:cubicBezTo>
                      <a:pt x="1770" y="559"/>
                      <a:pt x="1774" y="576"/>
                      <a:pt x="1778" y="593"/>
                    </a:cubicBezTo>
                    <a:cubicBezTo>
                      <a:pt x="1787" y="623"/>
                      <a:pt x="1801" y="652"/>
                      <a:pt x="1819" y="679"/>
                    </a:cubicBezTo>
                    <a:cubicBezTo>
                      <a:pt x="1862" y="743"/>
                      <a:pt x="1926" y="791"/>
                      <a:pt x="1984" y="839"/>
                    </a:cubicBezTo>
                    <a:cubicBezTo>
                      <a:pt x="2015" y="865"/>
                      <a:pt x="2047" y="891"/>
                      <a:pt x="2074" y="921"/>
                    </a:cubicBezTo>
                    <a:cubicBezTo>
                      <a:pt x="2104" y="953"/>
                      <a:pt x="2129" y="989"/>
                      <a:pt x="2155" y="1024"/>
                    </a:cubicBezTo>
                    <a:cubicBezTo>
                      <a:pt x="2177" y="1056"/>
                      <a:pt x="2202" y="1087"/>
                      <a:pt x="2230" y="1114"/>
                    </a:cubicBezTo>
                    <a:cubicBezTo>
                      <a:pt x="2242" y="1127"/>
                      <a:pt x="2256" y="1137"/>
                      <a:pt x="2271" y="1146"/>
                    </a:cubicBezTo>
                    <a:cubicBezTo>
                      <a:pt x="2288" y="1155"/>
                      <a:pt x="2307" y="1164"/>
                      <a:pt x="2321" y="1177"/>
                    </a:cubicBezTo>
                    <a:cubicBezTo>
                      <a:pt x="2324" y="1180"/>
                      <a:pt x="2328" y="1179"/>
                      <a:pt x="2330" y="1176"/>
                    </a:cubicBezTo>
                    <a:cubicBezTo>
                      <a:pt x="2334" y="1175"/>
                      <a:pt x="2337" y="1168"/>
                      <a:pt x="2332" y="1165"/>
                    </a:cubicBezTo>
                    <a:cubicBezTo>
                      <a:pt x="2298" y="1142"/>
                      <a:pt x="2266" y="1117"/>
                      <a:pt x="2238" y="1088"/>
                    </a:cubicBezTo>
                    <a:cubicBezTo>
                      <a:pt x="2209" y="1059"/>
                      <a:pt x="2185" y="1025"/>
                      <a:pt x="2163" y="990"/>
                    </a:cubicBezTo>
                    <a:cubicBezTo>
                      <a:pt x="2138" y="951"/>
                      <a:pt x="2116" y="911"/>
                      <a:pt x="2091" y="872"/>
                    </a:cubicBezTo>
                    <a:cubicBezTo>
                      <a:pt x="2070" y="842"/>
                      <a:pt x="2046" y="815"/>
                      <a:pt x="2019" y="790"/>
                    </a:cubicBezTo>
                    <a:cubicBezTo>
                      <a:pt x="1989" y="761"/>
                      <a:pt x="1955" y="736"/>
                      <a:pt x="1923" y="708"/>
                    </a:cubicBezTo>
                    <a:cubicBezTo>
                      <a:pt x="1925" y="707"/>
                      <a:pt x="1926" y="706"/>
                      <a:pt x="1928" y="705"/>
                    </a:cubicBezTo>
                    <a:cubicBezTo>
                      <a:pt x="1945" y="696"/>
                      <a:pt x="1961" y="685"/>
                      <a:pt x="1975" y="673"/>
                    </a:cubicBezTo>
                    <a:cubicBezTo>
                      <a:pt x="1976" y="672"/>
                      <a:pt x="1977" y="672"/>
                      <a:pt x="1978" y="671"/>
                    </a:cubicBezTo>
                    <a:cubicBezTo>
                      <a:pt x="1981" y="670"/>
                      <a:pt x="1982" y="667"/>
                      <a:pt x="1983" y="665"/>
                    </a:cubicBezTo>
                    <a:cubicBezTo>
                      <a:pt x="2000" y="649"/>
                      <a:pt x="2015" y="630"/>
                      <a:pt x="2029" y="612"/>
                    </a:cubicBezTo>
                    <a:cubicBezTo>
                      <a:pt x="2038" y="600"/>
                      <a:pt x="2046" y="588"/>
                      <a:pt x="2054" y="576"/>
                    </a:cubicBezTo>
                    <a:cubicBezTo>
                      <a:pt x="2066" y="559"/>
                      <a:pt x="2077" y="542"/>
                      <a:pt x="2087" y="524"/>
                    </a:cubicBezTo>
                    <a:cubicBezTo>
                      <a:pt x="2095" y="511"/>
                      <a:pt x="2104" y="497"/>
                      <a:pt x="2110" y="482"/>
                    </a:cubicBezTo>
                    <a:cubicBezTo>
                      <a:pt x="2121" y="492"/>
                      <a:pt x="2132" y="502"/>
                      <a:pt x="2146" y="508"/>
                    </a:cubicBezTo>
                    <a:cubicBezTo>
                      <a:pt x="2165" y="517"/>
                      <a:pt x="2186" y="515"/>
                      <a:pt x="2206" y="518"/>
                    </a:cubicBezTo>
                    <a:cubicBezTo>
                      <a:pt x="2243" y="525"/>
                      <a:pt x="2266" y="571"/>
                      <a:pt x="2283" y="600"/>
                    </a:cubicBezTo>
                    <a:cubicBezTo>
                      <a:pt x="2297" y="622"/>
                      <a:pt x="2314" y="658"/>
                      <a:pt x="2340" y="668"/>
                    </a:cubicBezTo>
                    <a:cubicBezTo>
                      <a:pt x="2351" y="672"/>
                      <a:pt x="2362" y="670"/>
                      <a:pt x="2374" y="668"/>
                    </a:cubicBezTo>
                    <a:cubicBezTo>
                      <a:pt x="2387" y="665"/>
                      <a:pt x="2401" y="657"/>
                      <a:pt x="2412" y="669"/>
                    </a:cubicBezTo>
                    <a:cubicBezTo>
                      <a:pt x="2433" y="694"/>
                      <a:pt x="2448" y="723"/>
                      <a:pt x="2469" y="748"/>
                    </a:cubicBezTo>
                    <a:cubicBezTo>
                      <a:pt x="2490" y="772"/>
                      <a:pt x="2516" y="794"/>
                      <a:pt x="2547" y="802"/>
                    </a:cubicBezTo>
                    <a:cubicBezTo>
                      <a:pt x="2563" y="805"/>
                      <a:pt x="2577" y="802"/>
                      <a:pt x="2593" y="801"/>
                    </a:cubicBezTo>
                    <a:cubicBezTo>
                      <a:pt x="2608" y="800"/>
                      <a:pt x="2618" y="807"/>
                      <a:pt x="2630" y="816"/>
                    </a:cubicBezTo>
                    <a:cubicBezTo>
                      <a:pt x="2663" y="844"/>
                      <a:pt x="2699" y="867"/>
                      <a:pt x="2735" y="891"/>
                    </a:cubicBezTo>
                    <a:cubicBezTo>
                      <a:pt x="2767" y="913"/>
                      <a:pt x="2799" y="933"/>
                      <a:pt x="2832" y="953"/>
                    </a:cubicBezTo>
                    <a:cubicBezTo>
                      <a:pt x="2837" y="956"/>
                      <a:pt x="2842" y="951"/>
                      <a:pt x="2841" y="946"/>
                    </a:cubicBezTo>
                    <a:cubicBezTo>
                      <a:pt x="2844" y="944"/>
                      <a:pt x="2844" y="939"/>
                      <a:pt x="2840" y="937"/>
                    </a:cubicBezTo>
                    <a:close/>
                    <a:moveTo>
                      <a:pt x="653" y="958"/>
                    </a:moveTo>
                    <a:cubicBezTo>
                      <a:pt x="652" y="959"/>
                      <a:pt x="651" y="960"/>
                      <a:pt x="650" y="961"/>
                    </a:cubicBezTo>
                    <a:cubicBezTo>
                      <a:pt x="655" y="954"/>
                      <a:pt x="659" y="946"/>
                      <a:pt x="663" y="938"/>
                    </a:cubicBezTo>
                    <a:cubicBezTo>
                      <a:pt x="660" y="945"/>
                      <a:pt x="657" y="951"/>
                      <a:pt x="653" y="958"/>
                    </a:cubicBezTo>
                    <a:close/>
                    <a:moveTo>
                      <a:pt x="1869" y="690"/>
                    </a:moveTo>
                    <a:cubicBezTo>
                      <a:pt x="1874" y="695"/>
                      <a:pt x="1878" y="700"/>
                      <a:pt x="1883" y="704"/>
                    </a:cubicBezTo>
                    <a:cubicBezTo>
                      <a:pt x="1883" y="705"/>
                      <a:pt x="1883" y="705"/>
                      <a:pt x="1884" y="706"/>
                    </a:cubicBezTo>
                    <a:cubicBezTo>
                      <a:pt x="1879" y="701"/>
                      <a:pt x="1874" y="696"/>
                      <a:pt x="1869" y="69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 dirty="0"/>
              </a:p>
            </p:txBody>
          </p:sp>
        </p:grpSp>
        <p:sp>
          <p:nvSpPr>
            <p:cNvPr id="8" name="iṥḷïďê">
              <a:extLst>
                <a:ext uri="{FF2B5EF4-FFF2-40B4-BE49-F238E27FC236}">
                  <a16:creationId xmlns:a16="http://schemas.microsoft.com/office/drawing/2014/main" id="{3C2A4E57-B85D-417C-8886-566214A16A53}"/>
                </a:ext>
              </a:extLst>
            </p:cNvPr>
            <p:cNvSpPr/>
            <p:nvPr/>
          </p:nvSpPr>
          <p:spPr>
            <a:xfrm>
              <a:off x="1722119" y="3449126"/>
              <a:ext cx="735222" cy="735222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sz="1400" b="1" dirty="0"/>
            </a:p>
          </p:txBody>
        </p:sp>
        <p:sp>
          <p:nvSpPr>
            <p:cNvPr id="25" name="ïs1iḓe">
              <a:extLst>
                <a:ext uri="{FF2B5EF4-FFF2-40B4-BE49-F238E27FC236}">
                  <a16:creationId xmlns:a16="http://schemas.microsoft.com/office/drawing/2014/main" id="{E51DF268-1DB5-4D30-B30B-45E8D9E71055}"/>
                </a:ext>
              </a:extLst>
            </p:cNvPr>
            <p:cNvSpPr txBox="1"/>
            <p:nvPr/>
          </p:nvSpPr>
          <p:spPr>
            <a:xfrm>
              <a:off x="807565" y="2042649"/>
              <a:ext cx="2550409" cy="10286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s-DO" altLang="zh-CN" sz="2400" b="1" dirty="0"/>
                <a:t>Ejecutable en Windows</a:t>
              </a:r>
              <a:endParaRPr lang="id-ID" altLang="zh-CN" sz="2400" b="1" dirty="0"/>
            </a:p>
          </p:txBody>
        </p:sp>
        <p:cxnSp>
          <p:nvCxnSpPr>
            <p:cNvPr id="10" name="直接连接符 9">
              <a:extLst>
                <a:ext uri="{FF2B5EF4-FFF2-40B4-BE49-F238E27FC236}">
                  <a16:creationId xmlns:a16="http://schemas.microsoft.com/office/drawing/2014/main" id="{36426BD0-2692-4A21-AF47-C72C1E7E7E78}"/>
                </a:ext>
              </a:extLst>
            </p:cNvPr>
            <p:cNvCxnSpPr>
              <a:cxnSpLocks/>
              <a:stCxn id="23" idx="2"/>
            </p:cNvCxnSpPr>
            <p:nvPr/>
          </p:nvCxnSpPr>
          <p:spPr>
            <a:xfrm>
              <a:off x="4770508" y="3030036"/>
              <a:ext cx="0" cy="2693237"/>
            </a:xfrm>
            <a:prstGeom prst="line">
              <a:avLst/>
            </a:prstGeom>
            <a:ln w="12700" cap="rnd">
              <a:solidFill>
                <a:schemeClr val="bg1">
                  <a:lumMod val="75000"/>
                </a:schemeClr>
              </a:solidFill>
              <a:prstDash val="dash"/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íṡ1iḋe">
              <a:extLst>
                <a:ext uri="{FF2B5EF4-FFF2-40B4-BE49-F238E27FC236}">
                  <a16:creationId xmlns:a16="http://schemas.microsoft.com/office/drawing/2014/main" id="{8785CECA-F663-4570-A6DE-E8796CD12450}"/>
                </a:ext>
              </a:extLst>
            </p:cNvPr>
            <p:cNvSpPr/>
            <p:nvPr/>
          </p:nvSpPr>
          <p:spPr>
            <a:xfrm>
              <a:off x="4392965" y="3449126"/>
              <a:ext cx="735222" cy="735222"/>
            </a:xfrm>
            <a:prstGeom prst="ellipse">
              <a:avLst/>
            </a:prstGeom>
            <a:solidFill>
              <a:srgbClr val="626262"/>
            </a:solidFill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sz="1400" b="1" dirty="0"/>
            </a:p>
          </p:txBody>
        </p:sp>
        <p:sp>
          <p:nvSpPr>
            <p:cNvPr id="23" name="ïšlíďé">
              <a:extLst>
                <a:ext uri="{FF2B5EF4-FFF2-40B4-BE49-F238E27FC236}">
                  <a16:creationId xmlns:a16="http://schemas.microsoft.com/office/drawing/2014/main" id="{E51DF268-1DB5-4D30-B30B-45E8D9E71055}"/>
                </a:ext>
              </a:extLst>
            </p:cNvPr>
            <p:cNvSpPr txBox="1"/>
            <p:nvPr/>
          </p:nvSpPr>
          <p:spPr>
            <a:xfrm>
              <a:off x="3864469" y="2001337"/>
              <a:ext cx="1812077" cy="10286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s-DO" altLang="zh-CN" sz="2400" b="1" dirty="0"/>
                <a:t>Diseño adaptable</a:t>
              </a:r>
              <a:endParaRPr lang="id-ID" altLang="zh-CN" sz="2400" b="1" dirty="0"/>
            </a:p>
          </p:txBody>
        </p:sp>
        <p:cxnSp>
          <p:nvCxnSpPr>
            <p:cNvPr id="13" name="直接连接符 12">
              <a:extLst>
                <a:ext uri="{FF2B5EF4-FFF2-40B4-BE49-F238E27FC236}">
                  <a16:creationId xmlns:a16="http://schemas.microsoft.com/office/drawing/2014/main" id="{36426BD0-2692-4A21-AF47-C72C1E7E7E78}"/>
                </a:ext>
              </a:extLst>
            </p:cNvPr>
            <p:cNvCxnSpPr>
              <a:cxnSpLocks/>
              <a:stCxn id="21" idx="2"/>
            </p:cNvCxnSpPr>
            <p:nvPr/>
          </p:nvCxnSpPr>
          <p:spPr>
            <a:xfrm>
              <a:off x="7421495" y="2988400"/>
              <a:ext cx="0" cy="2513635"/>
            </a:xfrm>
            <a:prstGeom prst="line">
              <a:avLst/>
            </a:prstGeom>
            <a:ln w="12700" cap="rnd">
              <a:solidFill>
                <a:schemeClr val="bg1">
                  <a:lumMod val="75000"/>
                </a:schemeClr>
              </a:solidFill>
              <a:prstDash val="dash"/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işḷiďé">
              <a:extLst>
                <a:ext uri="{FF2B5EF4-FFF2-40B4-BE49-F238E27FC236}">
                  <a16:creationId xmlns:a16="http://schemas.microsoft.com/office/drawing/2014/main" id="{A857CC45-C639-4F7D-B39A-B4029FF35C4D}"/>
                </a:ext>
              </a:extLst>
            </p:cNvPr>
            <p:cNvSpPr/>
            <p:nvPr/>
          </p:nvSpPr>
          <p:spPr>
            <a:xfrm>
              <a:off x="7063812" y="3449126"/>
              <a:ext cx="735222" cy="735222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sz="1400" b="1" dirty="0"/>
            </a:p>
          </p:txBody>
        </p:sp>
        <p:sp>
          <p:nvSpPr>
            <p:cNvPr id="21" name="íṥ1iḑe">
              <a:extLst>
                <a:ext uri="{FF2B5EF4-FFF2-40B4-BE49-F238E27FC236}">
                  <a16:creationId xmlns:a16="http://schemas.microsoft.com/office/drawing/2014/main" id="{E51DF268-1DB5-4D30-B30B-45E8D9E71055}"/>
                </a:ext>
              </a:extLst>
            </p:cNvPr>
            <p:cNvSpPr txBox="1"/>
            <p:nvPr/>
          </p:nvSpPr>
          <p:spPr>
            <a:xfrm>
              <a:off x="6515456" y="2164111"/>
              <a:ext cx="1812077" cy="82428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s-DO" altLang="zh-CN" sz="2400" b="1" dirty="0"/>
                <a:t>Fácil de ejecutar</a:t>
              </a:r>
              <a:endParaRPr lang="id-ID" altLang="zh-CN" sz="2400" b="1" dirty="0"/>
            </a:p>
          </p:txBody>
        </p:sp>
        <p:cxnSp>
          <p:nvCxnSpPr>
            <p:cNvPr id="16" name="直接连接符 15">
              <a:extLst>
                <a:ext uri="{FF2B5EF4-FFF2-40B4-BE49-F238E27FC236}">
                  <a16:creationId xmlns:a16="http://schemas.microsoft.com/office/drawing/2014/main" id="{36426BD0-2692-4A21-AF47-C72C1E7E7E78}"/>
                </a:ext>
              </a:extLst>
            </p:cNvPr>
            <p:cNvCxnSpPr>
              <a:cxnSpLocks/>
              <a:stCxn id="19" idx="2"/>
            </p:cNvCxnSpPr>
            <p:nvPr/>
          </p:nvCxnSpPr>
          <p:spPr>
            <a:xfrm flipH="1">
              <a:off x="10072482" y="3037970"/>
              <a:ext cx="33943" cy="3032608"/>
            </a:xfrm>
            <a:prstGeom prst="line">
              <a:avLst/>
            </a:prstGeom>
            <a:ln w="12700" cap="rnd">
              <a:solidFill>
                <a:schemeClr val="bg1">
                  <a:lumMod val="75000"/>
                </a:schemeClr>
              </a:solidFill>
              <a:prstDash val="dash"/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islîde">
              <a:extLst>
                <a:ext uri="{FF2B5EF4-FFF2-40B4-BE49-F238E27FC236}">
                  <a16:creationId xmlns:a16="http://schemas.microsoft.com/office/drawing/2014/main" id="{C289D0EB-42F8-4B46-8C55-2649C64FF857}"/>
                </a:ext>
              </a:extLst>
            </p:cNvPr>
            <p:cNvSpPr/>
            <p:nvPr/>
          </p:nvSpPr>
          <p:spPr>
            <a:xfrm>
              <a:off x="9734658" y="3449126"/>
              <a:ext cx="735222" cy="735222"/>
            </a:xfrm>
            <a:prstGeom prst="ellipse">
              <a:avLst/>
            </a:prstGeom>
            <a:solidFill>
              <a:srgbClr val="06024E"/>
            </a:solidFill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sz="1400" b="1" dirty="0"/>
            </a:p>
          </p:txBody>
        </p:sp>
        <p:sp>
          <p:nvSpPr>
            <p:cNvPr id="19" name="íṩlîḑê">
              <a:extLst>
                <a:ext uri="{FF2B5EF4-FFF2-40B4-BE49-F238E27FC236}">
                  <a16:creationId xmlns:a16="http://schemas.microsoft.com/office/drawing/2014/main" id="{E51DF268-1DB5-4D30-B30B-45E8D9E71055}"/>
                </a:ext>
              </a:extLst>
            </p:cNvPr>
            <p:cNvSpPr txBox="1"/>
            <p:nvPr/>
          </p:nvSpPr>
          <p:spPr>
            <a:xfrm>
              <a:off x="9033221" y="2242492"/>
              <a:ext cx="2146408" cy="79547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s-DO" altLang="zh-CN" sz="2400" b="1" dirty="0"/>
                <a:t>No se autodestruye</a:t>
              </a:r>
              <a:endParaRPr lang="id-ID" altLang="zh-CN" sz="2400" b="1" dirty="0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32039226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3407228" y="3429000"/>
            <a:ext cx="7478486" cy="895350"/>
          </a:xfrm>
        </p:spPr>
        <p:txBody>
          <a:bodyPr>
            <a:normAutofit fontScale="90000"/>
          </a:bodyPr>
          <a:lstStyle/>
          <a:p>
            <a:pPr algn="r"/>
            <a:r>
              <a:rPr lang="es-DO" altLang="zh-CN" sz="6000" dirty="0"/>
              <a:t>Demostración</a:t>
            </a:r>
            <a:endParaRPr lang="zh-CN" altLang="en-US" sz="600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9694956" y="2669720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rgbClr val="FFC000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5</a:t>
            </a:r>
            <a:endParaRPr lang="zh-CN" altLang="en-US" spc="100" dirty="0">
              <a:solidFill>
                <a:srgbClr val="FFC000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1E88336-E572-35C6-FA4E-40846F558A0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7007" y="442232"/>
            <a:ext cx="6234794" cy="6234794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3791800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ight Triangle 24">
            <a:extLst>
              <a:ext uri="{FF2B5EF4-FFF2-40B4-BE49-F238E27FC236}">
                <a16:creationId xmlns:a16="http://schemas.microsoft.com/office/drawing/2014/main" id="{B08BD0E9-ACE3-06F8-D8CE-9BF8B398996C}"/>
              </a:ext>
            </a:extLst>
          </p:cNvPr>
          <p:cNvSpPr/>
          <p:nvPr/>
        </p:nvSpPr>
        <p:spPr>
          <a:xfrm>
            <a:off x="-1" y="2144486"/>
            <a:ext cx="6683829" cy="4753426"/>
          </a:xfrm>
          <a:prstGeom prst="rtTriangle">
            <a:avLst/>
          </a:prstGeom>
          <a:solidFill>
            <a:srgbClr val="6262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DO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96489711-55AA-45BC-864F-CE17172BFE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DO" altLang="zh-CN" dirty="0"/>
              <a:t>Demostración</a:t>
            </a:r>
            <a:endParaRPr lang="zh-CN" altLang="en-US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1C808D5-6A30-7709-D518-F128DF258647}"/>
              </a:ext>
            </a:extLst>
          </p:cNvPr>
          <p:cNvSpPr/>
          <p:nvPr/>
        </p:nvSpPr>
        <p:spPr>
          <a:xfrm>
            <a:off x="6096000" y="1341246"/>
            <a:ext cx="5617029" cy="526638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DO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90AF2D8-DA21-4D94-AD0F-C82E86ABD9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r>
              <a:rPr lang="zh-CN" altLang="es-DO" sz="100"/>
              <a:t> </a:t>
            </a:r>
            <a:endParaRPr lang="zh-CN" altLang="en-US" sz="100"/>
          </a:p>
        </p:txBody>
      </p:sp>
      <p:sp>
        <p:nvSpPr>
          <p:cNvPr id="6" name="ïsḻîḓé">
            <a:extLst>
              <a:ext uri="{FF2B5EF4-FFF2-40B4-BE49-F238E27FC236}">
                <a16:creationId xmlns:a16="http://schemas.microsoft.com/office/drawing/2014/main" id="{33DB737F-A7AE-4EDA-9960-804C1AE1FF74}"/>
              </a:ext>
            </a:extLst>
          </p:cNvPr>
          <p:cNvSpPr/>
          <p:nvPr/>
        </p:nvSpPr>
        <p:spPr>
          <a:xfrm>
            <a:off x="6411471" y="1647618"/>
            <a:ext cx="4955620" cy="4592845"/>
          </a:xfrm>
          <a:prstGeom prst="rect">
            <a:avLst/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7"/>
            <a:endParaRPr lang="zh-CN" altLang="en-US" sz="180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E4BAD31D-50D1-22CE-B748-147482322B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4909" y="1837536"/>
            <a:ext cx="4954681" cy="1437159"/>
          </a:xfrm>
          <a:prstGeom prst="rect">
            <a:avLst/>
          </a:prstGeom>
        </p:spPr>
      </p:pic>
      <p:sp>
        <p:nvSpPr>
          <p:cNvPr id="28" name="íṥļídè">
            <a:extLst>
              <a:ext uri="{FF2B5EF4-FFF2-40B4-BE49-F238E27FC236}">
                <a16:creationId xmlns:a16="http://schemas.microsoft.com/office/drawing/2014/main" id="{B371EBBB-9F82-98DA-0007-CB8F2B284F67}"/>
              </a:ext>
            </a:extLst>
          </p:cNvPr>
          <p:cNvSpPr/>
          <p:nvPr/>
        </p:nvSpPr>
        <p:spPr>
          <a:xfrm>
            <a:off x="478971" y="4654300"/>
            <a:ext cx="993664" cy="992580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accent1"/>
            </a:solidFill>
          </a:ln>
        </p:spPr>
        <p:txBody>
          <a:bodyPr wrap="none">
            <a:noAutofit/>
          </a:bodyPr>
          <a:lstStyle/>
          <a:p>
            <a:pPr>
              <a:lnSpc>
                <a:spcPct val="150000"/>
              </a:lnSpc>
              <a:buSzPct val="25000"/>
            </a:pPr>
            <a:endParaRPr lang="en-US" altLang="zh-CN" sz="4800" dirty="0">
              <a:latin typeface="Impact" panose="020B0806030902050204" pitchFamily="34" charset="0"/>
            </a:endParaRPr>
          </a:p>
        </p:txBody>
      </p:sp>
      <p:sp>
        <p:nvSpPr>
          <p:cNvPr id="26" name="íṥļídè">
            <a:extLst>
              <a:ext uri="{FF2B5EF4-FFF2-40B4-BE49-F238E27FC236}">
                <a16:creationId xmlns:a16="http://schemas.microsoft.com/office/drawing/2014/main" id="{BAE97184-FE86-01A0-5571-F6F5559F7D23}"/>
              </a:ext>
            </a:extLst>
          </p:cNvPr>
          <p:cNvSpPr/>
          <p:nvPr/>
        </p:nvSpPr>
        <p:spPr>
          <a:xfrm>
            <a:off x="5101397" y="1647618"/>
            <a:ext cx="993664" cy="992580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accent1"/>
            </a:solidFill>
          </a:ln>
        </p:spPr>
        <p:txBody>
          <a:bodyPr wrap="none">
            <a:noAutofit/>
          </a:bodyPr>
          <a:lstStyle/>
          <a:p>
            <a:pPr>
              <a:lnSpc>
                <a:spcPct val="150000"/>
              </a:lnSpc>
              <a:buSzPct val="25000"/>
            </a:pPr>
            <a:endParaRPr lang="en-US" altLang="zh-CN" sz="4800" dirty="0">
              <a:latin typeface="Impact" panose="020B0806030902050204" pitchFamily="34" charset="0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CEF635F0-3938-A8E2-F168-2D1D7DAE57A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4909" y="3583305"/>
            <a:ext cx="4954681" cy="180512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026128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>
            <a:noAutofit/>
          </a:bodyPr>
          <a:lstStyle/>
          <a:p>
            <a:r>
              <a:rPr lang="en-US" altLang="zh-CN" sz="2400" dirty="0"/>
              <a:t>1098632</a:t>
            </a:r>
            <a:endParaRPr lang="en-US" altLang="en-US" sz="2400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sz="2400" dirty="0"/>
              <a:t>Víctor Toribio</a:t>
            </a:r>
          </a:p>
        </p:txBody>
      </p:sp>
      <p:sp>
        <p:nvSpPr>
          <p:cNvPr id="9" name="标题 1">
            <a:extLst>
              <a:ext uri="{FF2B5EF4-FFF2-40B4-BE49-F238E27FC236}">
                <a16:creationId xmlns:a16="http://schemas.microsoft.com/office/drawing/2014/main" id="{4359D56D-FAE1-FC76-1994-BAF736341CE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40100" y="1003301"/>
            <a:ext cx="8102598" cy="2743872"/>
          </a:xfrm>
        </p:spPr>
        <p:txBody>
          <a:bodyPr vert="horz" lIns="91440" tIns="45720" rIns="91440" bIns="45720" rtlCol="0"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en-US" altLang="zh-CN" sz="6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uchas</a:t>
            </a:r>
            <a:r>
              <a:rPr lang="en-US" altLang="zh-CN" sz="6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Gracias </a:t>
            </a:r>
            <a:r>
              <a:rPr lang="en-US" altLang="zh-CN" sz="6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or</a:t>
            </a:r>
            <a:r>
              <a:rPr lang="en-US" altLang="zh-CN" sz="6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altLang="zh-CN" sz="6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u</a:t>
            </a:r>
            <a:r>
              <a:rPr lang="en-US" altLang="zh-CN" sz="6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altLang="zh-CN" sz="6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tención</a:t>
            </a:r>
            <a:endParaRPr lang="zh-CN" altLang="en-US" sz="6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直角三角形 1">
            <a:extLst>
              <a:ext uri="{FF2B5EF4-FFF2-40B4-BE49-F238E27FC236}">
                <a16:creationId xmlns:a16="http://schemas.microsoft.com/office/drawing/2014/main" id="{FF1442EF-1DCE-FC8D-303A-A8167E8349BD}"/>
              </a:ext>
            </a:extLst>
          </p:cNvPr>
          <p:cNvSpPr/>
          <p:nvPr/>
        </p:nvSpPr>
        <p:spPr>
          <a:xfrm>
            <a:off x="0" y="696687"/>
            <a:ext cx="6172199" cy="6161314"/>
          </a:xfrm>
          <a:prstGeom prst="rtTriangl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pic>
        <p:nvPicPr>
          <p:cNvPr id="11" name="Picture 2" descr="Instituto Tecnológico de Santo Domingo - Home | Facebook">
            <a:extLst>
              <a:ext uri="{FF2B5EF4-FFF2-40B4-BE49-F238E27FC236}">
                <a16:creationId xmlns:a16="http://schemas.microsoft.com/office/drawing/2014/main" id="{2C6B9746-CB1E-ACA6-3B89-9C673EB326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45306" y="554605"/>
            <a:ext cx="897392" cy="897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" name="#25955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98452047-BB1E-4298-BC5F-A28C2D3E9F98}"/>
              </a:ext>
            </a:extLst>
          </p:cNvPr>
          <p:cNvGrpSpPr>
            <a:grpSpLocks noChangeAspect="1"/>
          </p:cNvGrpSpPr>
          <p:nvPr/>
        </p:nvGrpSpPr>
        <p:grpSpPr>
          <a:xfrm>
            <a:off x="1229059" y="1130300"/>
            <a:ext cx="9721182" cy="4614501"/>
            <a:chOff x="1229059" y="1130300"/>
            <a:chExt cx="9721182" cy="4614501"/>
          </a:xfrm>
        </p:grpSpPr>
        <p:grpSp>
          <p:nvGrpSpPr>
            <p:cNvPr id="37" name="íṩḷiḓê">
              <a:extLst>
                <a:ext uri="{FF2B5EF4-FFF2-40B4-BE49-F238E27FC236}">
                  <a16:creationId xmlns:a16="http://schemas.microsoft.com/office/drawing/2014/main" id="{A5A4F4E9-5579-465C-9628-5AF05305AB15}"/>
                </a:ext>
              </a:extLst>
            </p:cNvPr>
            <p:cNvGrpSpPr/>
            <p:nvPr/>
          </p:nvGrpSpPr>
          <p:grpSpPr>
            <a:xfrm>
              <a:off x="4920998" y="1130300"/>
              <a:ext cx="2337303" cy="761874"/>
              <a:chOff x="4920998" y="1130300"/>
              <a:chExt cx="2337303" cy="761874"/>
            </a:xfrm>
          </p:grpSpPr>
          <p:sp>
            <p:nvSpPr>
              <p:cNvPr id="82" name="îs1ídé">
                <a:extLst>
                  <a:ext uri="{FF2B5EF4-FFF2-40B4-BE49-F238E27FC236}">
                    <a16:creationId xmlns:a16="http://schemas.microsoft.com/office/drawing/2014/main" id="{04BEAF74-6597-4C85-9B81-0DFC722CAE20}"/>
                  </a:ext>
                </a:extLst>
              </p:cNvPr>
              <p:cNvSpPr/>
              <p:nvPr/>
            </p:nvSpPr>
            <p:spPr>
              <a:xfrm>
                <a:off x="4920998" y="1130300"/>
                <a:ext cx="2337303" cy="76187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ctr" anchorCtr="0">
                <a:normAutofit/>
              </a:bodyPr>
              <a:lstStyle/>
              <a:p>
                <a:pPr algn="ctr"/>
                <a:r>
                  <a:rPr lang="es-DO" altLang="zh-CN" sz="3600" dirty="0"/>
                  <a:t>Contenido</a:t>
                </a:r>
                <a:endParaRPr lang="zh-CN" altLang="en-US" sz="3600" dirty="0"/>
              </a:p>
            </p:txBody>
          </p:sp>
          <p:cxnSp>
            <p:nvCxnSpPr>
              <p:cNvPr id="83" name="直接连接符 82">
                <a:extLst>
                  <a:ext uri="{FF2B5EF4-FFF2-40B4-BE49-F238E27FC236}">
                    <a16:creationId xmlns:a16="http://schemas.microsoft.com/office/drawing/2014/main" id="{B46591BE-89C9-46E7-A796-DE9046835B56}"/>
                  </a:ext>
                </a:extLst>
              </p:cNvPr>
              <p:cNvCxnSpPr/>
              <p:nvPr/>
            </p:nvCxnSpPr>
            <p:spPr>
              <a:xfrm>
                <a:off x="5049326" y="1892174"/>
                <a:ext cx="2080646" cy="0"/>
              </a:xfrm>
              <a:prstGeom prst="line">
                <a:avLst/>
              </a:prstGeom>
              <a:ln w="12700" cap="rnd">
                <a:solidFill>
                  <a:schemeClr val="accent1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ïṧľide">
              <a:extLst>
                <a:ext uri="{FF2B5EF4-FFF2-40B4-BE49-F238E27FC236}">
                  <a16:creationId xmlns:a16="http://schemas.microsoft.com/office/drawing/2014/main" id="{2F6E766E-93F6-44F5-A856-CCE0804AD6BA}"/>
                </a:ext>
              </a:extLst>
            </p:cNvPr>
            <p:cNvGrpSpPr/>
            <p:nvPr/>
          </p:nvGrpSpPr>
          <p:grpSpPr>
            <a:xfrm>
              <a:off x="5267753" y="2848529"/>
              <a:ext cx="1643795" cy="2896272"/>
              <a:chOff x="5267753" y="2848529"/>
              <a:chExt cx="1643795" cy="2896272"/>
            </a:xfrm>
          </p:grpSpPr>
          <p:grpSp>
            <p:nvGrpSpPr>
              <p:cNvPr id="75" name="išḻiḋê">
                <a:extLst>
                  <a:ext uri="{FF2B5EF4-FFF2-40B4-BE49-F238E27FC236}">
                    <a16:creationId xmlns:a16="http://schemas.microsoft.com/office/drawing/2014/main" id="{1428C755-1C5A-4126-AAAE-DF32E910E608}"/>
                  </a:ext>
                </a:extLst>
              </p:cNvPr>
              <p:cNvGrpSpPr/>
              <p:nvPr/>
            </p:nvGrpSpPr>
            <p:grpSpPr>
              <a:xfrm>
                <a:off x="5267753" y="4297802"/>
                <a:ext cx="1643795" cy="1446999"/>
                <a:chOff x="1878003" y="4193310"/>
                <a:chExt cx="1643795" cy="1446999"/>
              </a:xfrm>
            </p:grpSpPr>
            <p:sp>
              <p:nvSpPr>
                <p:cNvPr id="80" name="ïslîḑè">
                  <a:extLst>
                    <a:ext uri="{FF2B5EF4-FFF2-40B4-BE49-F238E27FC236}">
                      <a16:creationId xmlns:a16="http://schemas.microsoft.com/office/drawing/2014/main" id="{C64AB769-9B06-4B9E-A877-F49409021A97}"/>
                    </a:ext>
                  </a:extLst>
                </p:cNvPr>
                <p:cNvSpPr txBox="1"/>
                <p:nvPr/>
              </p:nvSpPr>
              <p:spPr>
                <a:xfrm>
                  <a:off x="1878003" y="4193310"/>
                  <a:ext cx="1643795" cy="446696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rtlCol="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30000"/>
                    </a:lnSpc>
                  </a:pPr>
                  <a:r>
                    <a:rPr lang="es-DO" altLang="zh-CN" sz="1600" b="1" dirty="0" err="1"/>
                    <a:t>Descripcíón</a:t>
                  </a:r>
                  <a:endParaRPr lang="en-US" altLang="zh-CN" sz="1600" b="1" dirty="0"/>
                </a:p>
              </p:txBody>
            </p:sp>
            <p:sp>
              <p:nvSpPr>
                <p:cNvPr id="81" name="îşḷîḋè">
                  <a:extLst>
                    <a:ext uri="{FF2B5EF4-FFF2-40B4-BE49-F238E27FC236}">
                      <a16:creationId xmlns:a16="http://schemas.microsoft.com/office/drawing/2014/main" id="{5AC6B8CE-4115-49CA-AE2B-86C01E70E744}"/>
                    </a:ext>
                  </a:extLst>
                </p:cNvPr>
                <p:cNvSpPr/>
                <p:nvPr/>
              </p:nvSpPr>
              <p:spPr bwMode="auto">
                <a:xfrm>
                  <a:off x="1878003" y="4640008"/>
                  <a:ext cx="1643795" cy="100030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100" dirty="0"/>
                    <a:t>¿De </a:t>
                  </a:r>
                  <a:r>
                    <a:rPr lang="en-US" altLang="zh-CN" sz="1100" dirty="0" err="1"/>
                    <a:t>qué</a:t>
                  </a:r>
                  <a:r>
                    <a:rPr lang="en-US" altLang="zh-CN" sz="1100" dirty="0"/>
                    <a:t> se </a:t>
                  </a:r>
                  <a:r>
                    <a:rPr lang="en-US" altLang="zh-CN" sz="1100" dirty="0" err="1"/>
                    <a:t>trata</a:t>
                  </a:r>
                  <a:r>
                    <a:rPr lang="en-US" altLang="zh-CN" sz="1100" dirty="0"/>
                    <a:t> </a:t>
                  </a:r>
                  <a:r>
                    <a:rPr lang="en-US" altLang="zh-CN" sz="1100" dirty="0" err="1"/>
                    <a:t>el</a:t>
                  </a:r>
                  <a:r>
                    <a:rPr lang="en-US" altLang="zh-CN" sz="1100" dirty="0"/>
                    <a:t> virus?</a:t>
                  </a:r>
                </a:p>
              </p:txBody>
            </p:sp>
          </p:grpSp>
          <p:sp>
            <p:nvSpPr>
              <p:cNvPr id="76" name="ïṧḻïďè">
                <a:extLst>
                  <a:ext uri="{FF2B5EF4-FFF2-40B4-BE49-F238E27FC236}">
                    <a16:creationId xmlns:a16="http://schemas.microsoft.com/office/drawing/2014/main" id="{F7F4F358-7550-4181-928D-862FCA0397D8}"/>
                  </a:ext>
                </a:extLst>
              </p:cNvPr>
              <p:cNvSpPr txBox="1"/>
              <p:nvPr/>
            </p:nvSpPr>
            <p:spPr>
              <a:xfrm>
                <a:off x="5810960" y="2848529"/>
                <a:ext cx="557380" cy="54886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2000"/>
                  <a:t>0</a:t>
                </a:r>
                <a:r>
                  <a:rPr lang="en-US" altLang="zh-CN" sz="100"/>
                  <a:t> </a:t>
                </a:r>
                <a:r>
                  <a:rPr lang="en-US" altLang="zh-CN" sz="2000"/>
                  <a:t>3</a:t>
                </a:r>
                <a:endParaRPr lang="id-ID" sz="2000" dirty="0"/>
              </a:p>
            </p:txBody>
          </p:sp>
          <p:grpSp>
            <p:nvGrpSpPr>
              <p:cNvPr id="77" name="ï$ḻïḍé">
                <a:extLst>
                  <a:ext uri="{FF2B5EF4-FFF2-40B4-BE49-F238E27FC236}">
                    <a16:creationId xmlns:a16="http://schemas.microsoft.com/office/drawing/2014/main" id="{337B07EA-9565-458E-AD77-921AFF8E509C}"/>
                  </a:ext>
                </a:extLst>
              </p:cNvPr>
              <p:cNvGrpSpPr/>
              <p:nvPr/>
            </p:nvGrpSpPr>
            <p:grpSpPr>
              <a:xfrm>
                <a:off x="5756639" y="3397395"/>
                <a:ext cx="666022" cy="666022"/>
                <a:chOff x="5756639" y="3397395"/>
                <a:chExt cx="666022" cy="666022"/>
              </a:xfrm>
            </p:grpSpPr>
            <p:sp>
              <p:nvSpPr>
                <p:cNvPr id="78" name="ïṡļiḓé">
                  <a:extLst>
                    <a:ext uri="{FF2B5EF4-FFF2-40B4-BE49-F238E27FC236}">
                      <a16:creationId xmlns:a16="http://schemas.microsoft.com/office/drawing/2014/main" id="{805E5259-1B86-4665-B272-F329E67DEE92}"/>
                    </a:ext>
                  </a:extLst>
                </p:cNvPr>
                <p:cNvSpPr/>
                <p:nvPr/>
              </p:nvSpPr>
              <p:spPr>
                <a:xfrm>
                  <a:off x="5756639" y="3397395"/>
                  <a:ext cx="666022" cy="666022"/>
                </a:xfrm>
                <a:prstGeom prst="roundRect">
                  <a:avLst/>
                </a:prstGeom>
                <a:noFill/>
                <a:ln w="3175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 defTabSz="914354"/>
                  <a:endParaRPr lang="zh-CN" altLang="en-US" sz="2000" b="1" i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9" name="íşliḑé">
                  <a:extLst>
                    <a:ext uri="{FF2B5EF4-FFF2-40B4-BE49-F238E27FC236}">
                      <a16:creationId xmlns:a16="http://schemas.microsoft.com/office/drawing/2014/main" id="{EE716FB2-402F-4C0A-8416-C81CA5B825F0}"/>
                    </a:ext>
                  </a:extLst>
                </p:cNvPr>
                <p:cNvSpPr/>
                <p:nvPr/>
              </p:nvSpPr>
              <p:spPr>
                <a:xfrm>
                  <a:off x="5924702" y="3560357"/>
                  <a:ext cx="329896" cy="340098"/>
                </a:xfrm>
                <a:custGeom>
                  <a:avLst/>
                  <a:gdLst>
                    <a:gd name="T0" fmla="*/ 5363 w 5499"/>
                    <a:gd name="T1" fmla="*/ 3729 h 5677"/>
                    <a:gd name="T2" fmla="*/ 4520 w 5499"/>
                    <a:gd name="T3" fmla="*/ 2649 h 5677"/>
                    <a:gd name="T4" fmla="*/ 3673 w 5499"/>
                    <a:gd name="T5" fmla="*/ 3040 h 5677"/>
                    <a:gd name="T6" fmla="*/ 3023 w 5499"/>
                    <a:gd name="T7" fmla="*/ 2741 h 5677"/>
                    <a:gd name="T8" fmla="*/ 3454 w 5499"/>
                    <a:gd name="T9" fmla="*/ 1972 h 5677"/>
                    <a:gd name="T10" fmla="*/ 3507 w 5499"/>
                    <a:gd name="T11" fmla="*/ 1328 h 5677"/>
                    <a:gd name="T12" fmla="*/ 2170 w 5499"/>
                    <a:gd name="T13" fmla="*/ 0 h 5677"/>
                    <a:gd name="T14" fmla="*/ 1102 w 5499"/>
                    <a:gd name="T15" fmla="*/ 1508 h 5677"/>
                    <a:gd name="T16" fmla="*/ 1279 w 5499"/>
                    <a:gd name="T17" fmla="*/ 2144 h 5677"/>
                    <a:gd name="T18" fmla="*/ 1534 w 5499"/>
                    <a:gd name="T19" fmla="*/ 2877 h 5677"/>
                    <a:gd name="T20" fmla="*/ 3 w 5499"/>
                    <a:gd name="T21" fmla="*/ 5432 h 5677"/>
                    <a:gd name="T22" fmla="*/ 4372 w 5499"/>
                    <a:gd name="T23" fmla="*/ 5653 h 5677"/>
                    <a:gd name="T24" fmla="*/ 4996 w 5499"/>
                    <a:gd name="T25" fmla="*/ 5161 h 5677"/>
                    <a:gd name="T26" fmla="*/ 5363 w 5499"/>
                    <a:gd name="T27" fmla="*/ 3960 h 5677"/>
                    <a:gd name="T28" fmla="*/ 2075 w 5499"/>
                    <a:gd name="T29" fmla="*/ 3721 h 5677"/>
                    <a:gd name="T30" fmla="*/ 1829 w 5499"/>
                    <a:gd name="T31" fmla="*/ 3415 h 5677"/>
                    <a:gd name="T32" fmla="*/ 1924 w 5499"/>
                    <a:gd name="T33" fmla="*/ 2970 h 5677"/>
                    <a:gd name="T34" fmla="*/ 2135 w 5499"/>
                    <a:gd name="T35" fmla="*/ 3252 h 5677"/>
                    <a:gd name="T36" fmla="*/ 2140 w 5499"/>
                    <a:gd name="T37" fmla="*/ 3663 h 5677"/>
                    <a:gd name="T38" fmla="*/ 2592 w 5499"/>
                    <a:gd name="T39" fmla="*/ 3721 h 5677"/>
                    <a:gd name="T40" fmla="*/ 2492 w 5499"/>
                    <a:gd name="T41" fmla="*/ 3318 h 5677"/>
                    <a:gd name="T42" fmla="*/ 2533 w 5499"/>
                    <a:gd name="T43" fmla="*/ 3090 h 5677"/>
                    <a:gd name="T44" fmla="*/ 2807 w 5499"/>
                    <a:gd name="T45" fmla="*/ 2972 h 5677"/>
                    <a:gd name="T46" fmla="*/ 2825 w 5499"/>
                    <a:gd name="T47" fmla="*/ 3454 h 5677"/>
                    <a:gd name="T48" fmla="*/ 1776 w 5499"/>
                    <a:gd name="T49" fmla="*/ 2351 h 5677"/>
                    <a:gd name="T50" fmla="*/ 1477 w 5499"/>
                    <a:gd name="T51" fmla="*/ 1747 h 5677"/>
                    <a:gd name="T52" fmla="*/ 1513 w 5499"/>
                    <a:gd name="T53" fmla="*/ 1522 h 5677"/>
                    <a:gd name="T54" fmla="*/ 1575 w 5499"/>
                    <a:gd name="T55" fmla="*/ 1348 h 5677"/>
                    <a:gd name="T56" fmla="*/ 2781 w 5499"/>
                    <a:gd name="T57" fmla="*/ 1554 h 5677"/>
                    <a:gd name="T58" fmla="*/ 3119 w 5499"/>
                    <a:gd name="T59" fmla="*/ 1522 h 5677"/>
                    <a:gd name="T60" fmla="*/ 3219 w 5499"/>
                    <a:gd name="T61" fmla="*/ 1693 h 5677"/>
                    <a:gd name="T62" fmla="*/ 3123 w 5499"/>
                    <a:gd name="T63" fmla="*/ 1815 h 5677"/>
                    <a:gd name="T64" fmla="*/ 5035 w 5499"/>
                    <a:gd name="T65" fmla="*/ 4769 h 5677"/>
                    <a:gd name="T66" fmla="*/ 4520 w 5499"/>
                    <a:gd name="T67" fmla="*/ 5367 h 5677"/>
                    <a:gd name="T68" fmla="*/ 3887 w 5499"/>
                    <a:gd name="T69" fmla="*/ 4672 h 5677"/>
                    <a:gd name="T70" fmla="*/ 4121 w 5499"/>
                    <a:gd name="T71" fmla="*/ 4395 h 5677"/>
                    <a:gd name="T72" fmla="*/ 4693 w 5499"/>
                    <a:gd name="T73" fmla="*/ 4475 h 5677"/>
                    <a:gd name="T74" fmla="*/ 3985 w 5499"/>
                    <a:gd name="T75" fmla="*/ 4136 h 5677"/>
                    <a:gd name="T76" fmla="*/ 4355 w 5499"/>
                    <a:gd name="T77" fmla="*/ 3316 h 5677"/>
                    <a:gd name="T78" fmla="*/ 4686 w 5499"/>
                    <a:gd name="T79" fmla="*/ 3124 h 5677"/>
                    <a:gd name="T80" fmla="*/ 5064 w 5499"/>
                    <a:gd name="T81" fmla="*/ 3650 h 5677"/>
                    <a:gd name="T82" fmla="*/ 4693 w 5499"/>
                    <a:gd name="T83" fmla="*/ 3744 h 5677"/>
                    <a:gd name="T84" fmla="*/ 4379 w 5499"/>
                    <a:gd name="T85" fmla="*/ 3819 h 5677"/>
                    <a:gd name="T86" fmla="*/ 5110 w 5499"/>
                    <a:gd name="T87" fmla="*/ 4137 h 56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5499" h="5677">
                      <a:moveTo>
                        <a:pt x="5363" y="3960"/>
                      </a:moveTo>
                      <a:cubicBezTo>
                        <a:pt x="5342" y="3930"/>
                        <a:pt x="5320" y="3902"/>
                        <a:pt x="5296" y="3876"/>
                      </a:cubicBezTo>
                      <a:cubicBezTo>
                        <a:pt x="5326" y="3832"/>
                        <a:pt x="5349" y="3782"/>
                        <a:pt x="5363" y="3729"/>
                      </a:cubicBezTo>
                      <a:cubicBezTo>
                        <a:pt x="5405" y="3570"/>
                        <a:pt x="5363" y="3403"/>
                        <a:pt x="5251" y="3283"/>
                      </a:cubicBezTo>
                      <a:cubicBezTo>
                        <a:pt x="5178" y="3205"/>
                        <a:pt x="5093" y="3143"/>
                        <a:pt x="4995" y="3096"/>
                      </a:cubicBezTo>
                      <a:cubicBezTo>
                        <a:pt x="4980" y="2847"/>
                        <a:pt x="4773" y="2649"/>
                        <a:pt x="4520" y="2649"/>
                      </a:cubicBezTo>
                      <a:cubicBezTo>
                        <a:pt x="4272" y="2649"/>
                        <a:pt x="4067" y="2841"/>
                        <a:pt x="4047" y="3085"/>
                      </a:cubicBezTo>
                      <a:cubicBezTo>
                        <a:pt x="4017" y="3098"/>
                        <a:pt x="3989" y="3112"/>
                        <a:pt x="3962" y="3128"/>
                      </a:cubicBezTo>
                      <a:lnTo>
                        <a:pt x="3673" y="3040"/>
                      </a:lnTo>
                      <a:cubicBezTo>
                        <a:pt x="3673" y="3040"/>
                        <a:pt x="3673" y="3041"/>
                        <a:pt x="3673" y="3041"/>
                      </a:cubicBezTo>
                      <a:lnTo>
                        <a:pt x="3133" y="2877"/>
                      </a:lnTo>
                      <a:cubicBezTo>
                        <a:pt x="3116" y="2825"/>
                        <a:pt x="3077" y="2779"/>
                        <a:pt x="3023" y="2741"/>
                      </a:cubicBezTo>
                      <a:cubicBezTo>
                        <a:pt x="3083" y="2675"/>
                        <a:pt x="3133" y="2608"/>
                        <a:pt x="3171" y="2553"/>
                      </a:cubicBezTo>
                      <a:cubicBezTo>
                        <a:pt x="3261" y="2421"/>
                        <a:pt x="3337" y="2280"/>
                        <a:pt x="3389" y="2144"/>
                      </a:cubicBezTo>
                      <a:cubicBezTo>
                        <a:pt x="3414" y="2087"/>
                        <a:pt x="3436" y="2029"/>
                        <a:pt x="3454" y="1972"/>
                      </a:cubicBezTo>
                      <a:cubicBezTo>
                        <a:pt x="3524" y="1914"/>
                        <a:pt x="3565" y="1826"/>
                        <a:pt x="3565" y="1734"/>
                      </a:cubicBezTo>
                      <a:lnTo>
                        <a:pt x="3565" y="1508"/>
                      </a:lnTo>
                      <a:cubicBezTo>
                        <a:pt x="3565" y="1443"/>
                        <a:pt x="3545" y="1380"/>
                        <a:pt x="3507" y="1328"/>
                      </a:cubicBezTo>
                      <a:lnTo>
                        <a:pt x="3507" y="1010"/>
                      </a:lnTo>
                      <a:cubicBezTo>
                        <a:pt x="3507" y="453"/>
                        <a:pt x="3054" y="0"/>
                        <a:pt x="2497" y="0"/>
                      </a:cubicBezTo>
                      <a:lnTo>
                        <a:pt x="2170" y="0"/>
                      </a:lnTo>
                      <a:cubicBezTo>
                        <a:pt x="1613" y="0"/>
                        <a:pt x="1160" y="453"/>
                        <a:pt x="1160" y="1010"/>
                      </a:cubicBezTo>
                      <a:lnTo>
                        <a:pt x="1160" y="1328"/>
                      </a:lnTo>
                      <a:cubicBezTo>
                        <a:pt x="1122" y="1380"/>
                        <a:pt x="1102" y="1444"/>
                        <a:pt x="1102" y="1508"/>
                      </a:cubicBezTo>
                      <a:lnTo>
                        <a:pt x="1102" y="1734"/>
                      </a:lnTo>
                      <a:cubicBezTo>
                        <a:pt x="1102" y="1826"/>
                        <a:pt x="1143" y="1914"/>
                        <a:pt x="1213" y="1972"/>
                      </a:cubicBezTo>
                      <a:cubicBezTo>
                        <a:pt x="1231" y="2029"/>
                        <a:pt x="1253" y="2087"/>
                        <a:pt x="1279" y="2144"/>
                      </a:cubicBezTo>
                      <a:cubicBezTo>
                        <a:pt x="1331" y="2280"/>
                        <a:pt x="1406" y="2421"/>
                        <a:pt x="1496" y="2552"/>
                      </a:cubicBezTo>
                      <a:cubicBezTo>
                        <a:pt x="1534" y="2608"/>
                        <a:pt x="1584" y="2674"/>
                        <a:pt x="1644" y="2740"/>
                      </a:cubicBezTo>
                      <a:cubicBezTo>
                        <a:pt x="1590" y="2779"/>
                        <a:pt x="1551" y="2825"/>
                        <a:pt x="1534" y="2877"/>
                      </a:cubicBezTo>
                      <a:lnTo>
                        <a:pt x="814" y="3095"/>
                      </a:lnTo>
                      <a:cubicBezTo>
                        <a:pt x="307" y="3241"/>
                        <a:pt x="3" y="5432"/>
                        <a:pt x="3" y="5432"/>
                      </a:cubicBezTo>
                      <a:lnTo>
                        <a:pt x="3" y="5432"/>
                      </a:lnTo>
                      <a:cubicBezTo>
                        <a:pt x="1" y="5442"/>
                        <a:pt x="0" y="5452"/>
                        <a:pt x="0" y="5462"/>
                      </a:cubicBezTo>
                      <a:cubicBezTo>
                        <a:pt x="0" y="5567"/>
                        <a:pt x="86" y="5653"/>
                        <a:pt x="191" y="5653"/>
                      </a:cubicBezTo>
                      <a:lnTo>
                        <a:pt x="4372" y="5653"/>
                      </a:lnTo>
                      <a:cubicBezTo>
                        <a:pt x="4418" y="5668"/>
                        <a:pt x="4468" y="5677"/>
                        <a:pt x="4520" y="5677"/>
                      </a:cubicBezTo>
                      <a:cubicBezTo>
                        <a:pt x="4783" y="5677"/>
                        <a:pt x="4996" y="5464"/>
                        <a:pt x="4996" y="5202"/>
                      </a:cubicBezTo>
                      <a:lnTo>
                        <a:pt x="4996" y="5161"/>
                      </a:lnTo>
                      <a:cubicBezTo>
                        <a:pt x="5091" y="5119"/>
                        <a:pt x="5175" y="5063"/>
                        <a:pt x="5248" y="4994"/>
                      </a:cubicBezTo>
                      <a:cubicBezTo>
                        <a:pt x="5412" y="4838"/>
                        <a:pt x="5499" y="4635"/>
                        <a:pt x="5499" y="4406"/>
                      </a:cubicBezTo>
                      <a:cubicBezTo>
                        <a:pt x="5499" y="4239"/>
                        <a:pt x="5453" y="4089"/>
                        <a:pt x="5363" y="3960"/>
                      </a:cubicBezTo>
                      <a:close/>
                      <a:moveTo>
                        <a:pt x="2140" y="3663"/>
                      </a:moveTo>
                      <a:cubicBezTo>
                        <a:pt x="2137" y="3689"/>
                        <a:pt x="2118" y="3711"/>
                        <a:pt x="2093" y="3718"/>
                      </a:cubicBezTo>
                      <a:cubicBezTo>
                        <a:pt x="2087" y="3720"/>
                        <a:pt x="2081" y="3721"/>
                        <a:pt x="2075" y="3721"/>
                      </a:cubicBezTo>
                      <a:cubicBezTo>
                        <a:pt x="2055" y="3721"/>
                        <a:pt x="2036" y="3711"/>
                        <a:pt x="2024" y="3695"/>
                      </a:cubicBezTo>
                      <a:lnTo>
                        <a:pt x="1842" y="3454"/>
                      </a:lnTo>
                      <a:cubicBezTo>
                        <a:pt x="1833" y="3442"/>
                        <a:pt x="1829" y="3429"/>
                        <a:pt x="1829" y="3415"/>
                      </a:cubicBezTo>
                      <a:lnTo>
                        <a:pt x="1829" y="3028"/>
                      </a:lnTo>
                      <a:cubicBezTo>
                        <a:pt x="1829" y="3005"/>
                        <a:pt x="1841" y="2984"/>
                        <a:pt x="1860" y="2972"/>
                      </a:cubicBezTo>
                      <a:cubicBezTo>
                        <a:pt x="1880" y="2961"/>
                        <a:pt x="1904" y="2960"/>
                        <a:pt x="1924" y="2970"/>
                      </a:cubicBezTo>
                      <a:cubicBezTo>
                        <a:pt x="1977" y="2998"/>
                        <a:pt x="2030" y="3017"/>
                        <a:pt x="2081" y="3026"/>
                      </a:cubicBezTo>
                      <a:cubicBezTo>
                        <a:pt x="2112" y="3032"/>
                        <a:pt x="2135" y="3059"/>
                        <a:pt x="2135" y="3090"/>
                      </a:cubicBezTo>
                      <a:lnTo>
                        <a:pt x="2135" y="3252"/>
                      </a:lnTo>
                      <a:cubicBezTo>
                        <a:pt x="2144" y="3255"/>
                        <a:pt x="2152" y="3261"/>
                        <a:pt x="2159" y="3268"/>
                      </a:cubicBezTo>
                      <a:cubicBezTo>
                        <a:pt x="2171" y="3282"/>
                        <a:pt x="2177" y="3300"/>
                        <a:pt x="2175" y="3318"/>
                      </a:cubicBezTo>
                      <a:lnTo>
                        <a:pt x="2140" y="3663"/>
                      </a:lnTo>
                      <a:close/>
                      <a:moveTo>
                        <a:pt x="2825" y="3454"/>
                      </a:moveTo>
                      <a:lnTo>
                        <a:pt x="2644" y="3695"/>
                      </a:lnTo>
                      <a:cubicBezTo>
                        <a:pt x="2631" y="3711"/>
                        <a:pt x="2612" y="3721"/>
                        <a:pt x="2592" y="3721"/>
                      </a:cubicBezTo>
                      <a:cubicBezTo>
                        <a:pt x="2586" y="3721"/>
                        <a:pt x="2580" y="3720"/>
                        <a:pt x="2574" y="3718"/>
                      </a:cubicBezTo>
                      <a:cubicBezTo>
                        <a:pt x="2549" y="3711"/>
                        <a:pt x="2530" y="3689"/>
                        <a:pt x="2527" y="3662"/>
                      </a:cubicBezTo>
                      <a:lnTo>
                        <a:pt x="2492" y="3318"/>
                      </a:lnTo>
                      <a:cubicBezTo>
                        <a:pt x="2490" y="3300"/>
                        <a:pt x="2496" y="3282"/>
                        <a:pt x="2508" y="3268"/>
                      </a:cubicBezTo>
                      <a:cubicBezTo>
                        <a:pt x="2515" y="3261"/>
                        <a:pt x="2523" y="3255"/>
                        <a:pt x="2533" y="3252"/>
                      </a:cubicBezTo>
                      <a:lnTo>
                        <a:pt x="2533" y="3090"/>
                      </a:lnTo>
                      <a:cubicBezTo>
                        <a:pt x="2533" y="3059"/>
                        <a:pt x="2555" y="3032"/>
                        <a:pt x="2586" y="3026"/>
                      </a:cubicBezTo>
                      <a:cubicBezTo>
                        <a:pt x="2637" y="3017"/>
                        <a:pt x="2690" y="2998"/>
                        <a:pt x="2743" y="2971"/>
                      </a:cubicBezTo>
                      <a:cubicBezTo>
                        <a:pt x="2763" y="2960"/>
                        <a:pt x="2787" y="2961"/>
                        <a:pt x="2807" y="2972"/>
                      </a:cubicBezTo>
                      <a:cubicBezTo>
                        <a:pt x="2826" y="2984"/>
                        <a:pt x="2838" y="3005"/>
                        <a:pt x="2838" y="3028"/>
                      </a:cubicBezTo>
                      <a:lnTo>
                        <a:pt x="2838" y="3415"/>
                      </a:lnTo>
                      <a:cubicBezTo>
                        <a:pt x="2838" y="3429"/>
                        <a:pt x="2834" y="3442"/>
                        <a:pt x="2825" y="3454"/>
                      </a:cubicBezTo>
                      <a:close/>
                      <a:moveTo>
                        <a:pt x="2508" y="2684"/>
                      </a:moveTo>
                      <a:lnTo>
                        <a:pt x="2160" y="2684"/>
                      </a:lnTo>
                      <a:cubicBezTo>
                        <a:pt x="2083" y="2684"/>
                        <a:pt x="1934" y="2581"/>
                        <a:pt x="1776" y="2351"/>
                      </a:cubicBezTo>
                      <a:cubicBezTo>
                        <a:pt x="1651" y="2170"/>
                        <a:pt x="1564" y="1970"/>
                        <a:pt x="1544" y="1815"/>
                      </a:cubicBezTo>
                      <a:lnTo>
                        <a:pt x="1540" y="1788"/>
                      </a:lnTo>
                      <a:lnTo>
                        <a:pt x="1477" y="1747"/>
                      </a:lnTo>
                      <a:cubicBezTo>
                        <a:pt x="1459" y="1735"/>
                        <a:pt x="1448" y="1715"/>
                        <a:pt x="1448" y="1693"/>
                      </a:cubicBezTo>
                      <a:lnTo>
                        <a:pt x="1448" y="1586"/>
                      </a:lnTo>
                      <a:cubicBezTo>
                        <a:pt x="1448" y="1551"/>
                        <a:pt x="1477" y="1522"/>
                        <a:pt x="1513" y="1522"/>
                      </a:cubicBezTo>
                      <a:lnTo>
                        <a:pt x="1539" y="1522"/>
                      </a:lnTo>
                      <a:lnTo>
                        <a:pt x="1539" y="1406"/>
                      </a:lnTo>
                      <a:cubicBezTo>
                        <a:pt x="1539" y="1382"/>
                        <a:pt x="1553" y="1359"/>
                        <a:pt x="1575" y="1348"/>
                      </a:cubicBezTo>
                      <a:cubicBezTo>
                        <a:pt x="1664" y="1304"/>
                        <a:pt x="1841" y="1229"/>
                        <a:pt x="2024" y="1229"/>
                      </a:cubicBezTo>
                      <a:cubicBezTo>
                        <a:pt x="2170" y="1229"/>
                        <a:pt x="2292" y="1278"/>
                        <a:pt x="2384" y="1374"/>
                      </a:cubicBezTo>
                      <a:cubicBezTo>
                        <a:pt x="2500" y="1493"/>
                        <a:pt x="2633" y="1554"/>
                        <a:pt x="2781" y="1554"/>
                      </a:cubicBezTo>
                      <a:cubicBezTo>
                        <a:pt x="2864" y="1554"/>
                        <a:pt x="2950" y="1534"/>
                        <a:pt x="3037" y="1495"/>
                      </a:cubicBezTo>
                      <a:cubicBezTo>
                        <a:pt x="3057" y="1486"/>
                        <a:pt x="3080" y="1488"/>
                        <a:pt x="3098" y="1500"/>
                      </a:cubicBezTo>
                      <a:cubicBezTo>
                        <a:pt x="3107" y="1506"/>
                        <a:pt x="3114" y="1513"/>
                        <a:pt x="3119" y="1522"/>
                      </a:cubicBezTo>
                      <a:lnTo>
                        <a:pt x="3154" y="1522"/>
                      </a:lnTo>
                      <a:cubicBezTo>
                        <a:pt x="3190" y="1522"/>
                        <a:pt x="3219" y="1551"/>
                        <a:pt x="3219" y="1586"/>
                      </a:cubicBezTo>
                      <a:lnTo>
                        <a:pt x="3219" y="1693"/>
                      </a:lnTo>
                      <a:cubicBezTo>
                        <a:pt x="3219" y="1715"/>
                        <a:pt x="3208" y="1735"/>
                        <a:pt x="3190" y="1747"/>
                      </a:cubicBezTo>
                      <a:lnTo>
                        <a:pt x="3127" y="1788"/>
                      </a:lnTo>
                      <a:lnTo>
                        <a:pt x="3123" y="1815"/>
                      </a:lnTo>
                      <a:cubicBezTo>
                        <a:pt x="3103" y="1970"/>
                        <a:pt x="3016" y="2170"/>
                        <a:pt x="2891" y="2351"/>
                      </a:cubicBezTo>
                      <a:cubicBezTo>
                        <a:pt x="2733" y="2581"/>
                        <a:pt x="2584" y="2684"/>
                        <a:pt x="2508" y="2684"/>
                      </a:cubicBezTo>
                      <a:close/>
                      <a:moveTo>
                        <a:pt x="5035" y="4769"/>
                      </a:moveTo>
                      <a:cubicBezTo>
                        <a:pt x="4947" y="4852"/>
                        <a:pt x="4830" y="4908"/>
                        <a:pt x="4686" y="4935"/>
                      </a:cubicBezTo>
                      <a:lnTo>
                        <a:pt x="4686" y="5202"/>
                      </a:lnTo>
                      <a:cubicBezTo>
                        <a:pt x="4686" y="5293"/>
                        <a:pt x="4612" y="5367"/>
                        <a:pt x="4520" y="5367"/>
                      </a:cubicBezTo>
                      <a:cubicBezTo>
                        <a:pt x="4429" y="5367"/>
                        <a:pt x="4355" y="5293"/>
                        <a:pt x="4355" y="5202"/>
                      </a:cubicBezTo>
                      <a:lnTo>
                        <a:pt x="4355" y="4944"/>
                      </a:lnTo>
                      <a:cubicBezTo>
                        <a:pt x="4144" y="4915"/>
                        <a:pt x="3987" y="4824"/>
                        <a:pt x="3887" y="4672"/>
                      </a:cubicBezTo>
                      <a:cubicBezTo>
                        <a:pt x="3857" y="4626"/>
                        <a:pt x="3851" y="4567"/>
                        <a:pt x="3873" y="4516"/>
                      </a:cubicBezTo>
                      <a:cubicBezTo>
                        <a:pt x="3895" y="4465"/>
                        <a:pt x="3941" y="4428"/>
                        <a:pt x="3995" y="4418"/>
                      </a:cubicBezTo>
                      <a:lnTo>
                        <a:pt x="4121" y="4395"/>
                      </a:lnTo>
                      <a:cubicBezTo>
                        <a:pt x="4185" y="4383"/>
                        <a:pt x="4250" y="4410"/>
                        <a:pt x="4287" y="4463"/>
                      </a:cubicBezTo>
                      <a:cubicBezTo>
                        <a:pt x="4334" y="4531"/>
                        <a:pt x="4414" y="4565"/>
                        <a:pt x="4524" y="4565"/>
                      </a:cubicBezTo>
                      <a:cubicBezTo>
                        <a:pt x="4693" y="4565"/>
                        <a:pt x="4693" y="4498"/>
                        <a:pt x="4693" y="4475"/>
                      </a:cubicBezTo>
                      <a:cubicBezTo>
                        <a:pt x="4693" y="4443"/>
                        <a:pt x="4681" y="4420"/>
                        <a:pt x="4656" y="4402"/>
                      </a:cubicBezTo>
                      <a:cubicBezTo>
                        <a:pt x="4629" y="4384"/>
                        <a:pt x="4581" y="4367"/>
                        <a:pt x="4512" y="4353"/>
                      </a:cubicBezTo>
                      <a:cubicBezTo>
                        <a:pt x="4237" y="4297"/>
                        <a:pt x="4059" y="4224"/>
                        <a:pt x="3985" y="4136"/>
                      </a:cubicBezTo>
                      <a:cubicBezTo>
                        <a:pt x="3909" y="4048"/>
                        <a:pt x="3872" y="3948"/>
                        <a:pt x="3872" y="3833"/>
                      </a:cubicBezTo>
                      <a:cubicBezTo>
                        <a:pt x="3872" y="3707"/>
                        <a:pt x="3914" y="3595"/>
                        <a:pt x="3995" y="3497"/>
                      </a:cubicBezTo>
                      <a:cubicBezTo>
                        <a:pt x="4074" y="3403"/>
                        <a:pt x="4195" y="3342"/>
                        <a:pt x="4355" y="3316"/>
                      </a:cubicBezTo>
                      <a:lnTo>
                        <a:pt x="4355" y="3124"/>
                      </a:lnTo>
                      <a:cubicBezTo>
                        <a:pt x="4355" y="3033"/>
                        <a:pt x="4429" y="2959"/>
                        <a:pt x="4520" y="2959"/>
                      </a:cubicBezTo>
                      <a:cubicBezTo>
                        <a:pt x="4612" y="2959"/>
                        <a:pt x="4686" y="3033"/>
                        <a:pt x="4686" y="3124"/>
                      </a:cubicBezTo>
                      <a:lnTo>
                        <a:pt x="4686" y="3319"/>
                      </a:lnTo>
                      <a:cubicBezTo>
                        <a:pt x="4829" y="3346"/>
                        <a:pt x="4940" y="3404"/>
                        <a:pt x="5024" y="3494"/>
                      </a:cubicBezTo>
                      <a:cubicBezTo>
                        <a:pt x="5063" y="3536"/>
                        <a:pt x="5078" y="3595"/>
                        <a:pt x="5064" y="3650"/>
                      </a:cubicBezTo>
                      <a:cubicBezTo>
                        <a:pt x="5049" y="3705"/>
                        <a:pt x="5007" y="3749"/>
                        <a:pt x="4953" y="3766"/>
                      </a:cubicBezTo>
                      <a:lnTo>
                        <a:pt x="4867" y="3793"/>
                      </a:lnTo>
                      <a:cubicBezTo>
                        <a:pt x="4805" y="3812"/>
                        <a:pt x="4737" y="3793"/>
                        <a:pt x="4693" y="3744"/>
                      </a:cubicBezTo>
                      <a:cubicBezTo>
                        <a:pt x="4650" y="3696"/>
                        <a:pt x="4586" y="3671"/>
                        <a:pt x="4503" y="3671"/>
                      </a:cubicBezTo>
                      <a:cubicBezTo>
                        <a:pt x="4436" y="3671"/>
                        <a:pt x="4356" y="3687"/>
                        <a:pt x="4356" y="3763"/>
                      </a:cubicBezTo>
                      <a:cubicBezTo>
                        <a:pt x="4356" y="3785"/>
                        <a:pt x="4364" y="3804"/>
                        <a:pt x="4379" y="3819"/>
                      </a:cubicBezTo>
                      <a:cubicBezTo>
                        <a:pt x="4396" y="3835"/>
                        <a:pt x="4444" y="3852"/>
                        <a:pt x="4521" y="3870"/>
                      </a:cubicBezTo>
                      <a:cubicBezTo>
                        <a:pt x="4701" y="3909"/>
                        <a:pt x="4832" y="3945"/>
                        <a:pt x="4910" y="3976"/>
                      </a:cubicBezTo>
                      <a:cubicBezTo>
                        <a:pt x="4990" y="4008"/>
                        <a:pt x="5057" y="4062"/>
                        <a:pt x="5110" y="4137"/>
                      </a:cubicBezTo>
                      <a:cubicBezTo>
                        <a:pt x="5162" y="4213"/>
                        <a:pt x="5189" y="4303"/>
                        <a:pt x="5189" y="4406"/>
                      </a:cubicBezTo>
                      <a:cubicBezTo>
                        <a:pt x="5189" y="4550"/>
                        <a:pt x="5137" y="4672"/>
                        <a:pt x="5035" y="4769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28575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354"/>
                  <a:endParaRPr lang="zh-CN" altLang="en-US" sz="2000" b="1" i="1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39" name="ïSḻïḓè">
              <a:extLst>
                <a:ext uri="{FF2B5EF4-FFF2-40B4-BE49-F238E27FC236}">
                  <a16:creationId xmlns:a16="http://schemas.microsoft.com/office/drawing/2014/main" id="{68E5AD9E-B944-459C-BD70-203DE7D0E688}"/>
                </a:ext>
              </a:extLst>
            </p:cNvPr>
            <p:cNvGrpSpPr/>
            <p:nvPr/>
          </p:nvGrpSpPr>
          <p:grpSpPr>
            <a:xfrm>
              <a:off x="3248406" y="2848529"/>
              <a:ext cx="1643795" cy="2896272"/>
              <a:chOff x="3248406" y="2848529"/>
              <a:chExt cx="1643795" cy="2896272"/>
            </a:xfrm>
          </p:grpSpPr>
          <p:grpSp>
            <p:nvGrpSpPr>
              <p:cNvPr id="68" name="ïSliḋé">
                <a:extLst>
                  <a:ext uri="{FF2B5EF4-FFF2-40B4-BE49-F238E27FC236}">
                    <a16:creationId xmlns:a16="http://schemas.microsoft.com/office/drawing/2014/main" id="{8F37D6BA-998E-4E6E-899F-9BD58BA4247B}"/>
                  </a:ext>
                </a:extLst>
              </p:cNvPr>
              <p:cNvGrpSpPr/>
              <p:nvPr/>
            </p:nvGrpSpPr>
            <p:grpSpPr>
              <a:xfrm>
                <a:off x="3248406" y="4297802"/>
                <a:ext cx="1643795" cy="1446999"/>
                <a:chOff x="1878003" y="4193310"/>
                <a:chExt cx="1643795" cy="1446999"/>
              </a:xfrm>
            </p:grpSpPr>
            <p:sp>
              <p:nvSpPr>
                <p:cNvPr id="73" name="ïS1ïḋê">
                  <a:extLst>
                    <a:ext uri="{FF2B5EF4-FFF2-40B4-BE49-F238E27FC236}">
                      <a16:creationId xmlns:a16="http://schemas.microsoft.com/office/drawing/2014/main" id="{6CEE2A12-387B-4442-9EF3-E27E0749384B}"/>
                    </a:ext>
                  </a:extLst>
                </p:cNvPr>
                <p:cNvSpPr txBox="1"/>
                <p:nvPr/>
              </p:nvSpPr>
              <p:spPr>
                <a:xfrm>
                  <a:off x="1878003" y="4193310"/>
                  <a:ext cx="1643795" cy="446696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rtlCol="0" anchor="ctr">
                  <a:normAutofit fontScale="70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30000"/>
                    </a:lnSpc>
                  </a:pPr>
                  <a:r>
                    <a:rPr lang="es-DO" altLang="zh-CN" sz="1600" b="1" dirty="0"/>
                    <a:t>Ejemplos de Troyanos</a:t>
                  </a:r>
                  <a:endParaRPr lang="en-US" altLang="zh-CN" sz="1600" b="1" dirty="0"/>
                </a:p>
              </p:txBody>
            </p:sp>
            <p:sp>
              <p:nvSpPr>
                <p:cNvPr id="74" name="ïśḻidè">
                  <a:extLst>
                    <a:ext uri="{FF2B5EF4-FFF2-40B4-BE49-F238E27FC236}">
                      <a16:creationId xmlns:a16="http://schemas.microsoft.com/office/drawing/2014/main" id="{8CC02FB9-4843-4964-B2E0-B407F5965B5C}"/>
                    </a:ext>
                  </a:extLst>
                </p:cNvPr>
                <p:cNvSpPr/>
                <p:nvPr/>
              </p:nvSpPr>
              <p:spPr bwMode="auto">
                <a:xfrm>
                  <a:off x="1878003" y="4640008"/>
                  <a:ext cx="1643795" cy="100030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100" dirty="0" err="1"/>
                    <a:t>Algunos</a:t>
                  </a:r>
                  <a:r>
                    <a:rPr lang="en-US" altLang="zh-CN" sz="1100" dirty="0"/>
                    <a:t> </a:t>
                  </a:r>
                  <a:r>
                    <a:rPr lang="en-US" altLang="zh-CN" sz="1100" dirty="0" err="1"/>
                    <a:t>ejemplos</a:t>
                  </a:r>
                  <a:r>
                    <a:rPr lang="en-US" altLang="zh-CN" sz="1100" dirty="0"/>
                    <a:t> de virus</a:t>
                  </a:r>
                </a:p>
              </p:txBody>
            </p:sp>
          </p:grpSp>
          <p:sp>
            <p:nvSpPr>
              <p:cNvPr id="69" name="iŝļïḑé">
                <a:extLst>
                  <a:ext uri="{FF2B5EF4-FFF2-40B4-BE49-F238E27FC236}">
                    <a16:creationId xmlns:a16="http://schemas.microsoft.com/office/drawing/2014/main" id="{33F80CF9-0FC3-4B31-B988-EE5471F39042}"/>
                  </a:ext>
                </a:extLst>
              </p:cNvPr>
              <p:cNvSpPr txBox="1"/>
              <p:nvPr/>
            </p:nvSpPr>
            <p:spPr>
              <a:xfrm>
                <a:off x="3791613" y="2848529"/>
                <a:ext cx="557380" cy="54886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2000"/>
                  <a:t>0</a:t>
                </a:r>
                <a:r>
                  <a:rPr lang="en-US" altLang="zh-CN" sz="100"/>
                  <a:t> </a:t>
                </a:r>
                <a:r>
                  <a:rPr lang="en-US" altLang="zh-CN" sz="2000"/>
                  <a:t>2</a:t>
                </a:r>
                <a:endParaRPr lang="id-ID" sz="2000" dirty="0"/>
              </a:p>
            </p:txBody>
          </p:sp>
          <p:grpSp>
            <p:nvGrpSpPr>
              <p:cNvPr id="70" name="išḷiḋê">
                <a:extLst>
                  <a:ext uri="{FF2B5EF4-FFF2-40B4-BE49-F238E27FC236}">
                    <a16:creationId xmlns:a16="http://schemas.microsoft.com/office/drawing/2014/main" id="{8C1C5099-60E9-42EF-9979-EFF44F8D84C3}"/>
                  </a:ext>
                </a:extLst>
              </p:cNvPr>
              <p:cNvGrpSpPr/>
              <p:nvPr/>
            </p:nvGrpSpPr>
            <p:grpSpPr>
              <a:xfrm>
                <a:off x="3737292" y="3397395"/>
                <a:ext cx="666022" cy="666022"/>
                <a:chOff x="3737292" y="3397395"/>
                <a:chExt cx="666022" cy="666022"/>
              </a:xfrm>
            </p:grpSpPr>
            <p:sp>
              <p:nvSpPr>
                <p:cNvPr id="71" name="ïŝlïḑé">
                  <a:extLst>
                    <a:ext uri="{FF2B5EF4-FFF2-40B4-BE49-F238E27FC236}">
                      <a16:creationId xmlns:a16="http://schemas.microsoft.com/office/drawing/2014/main" id="{E3EEEB1A-B86A-48AF-A45B-0632182DA9BB}"/>
                    </a:ext>
                  </a:extLst>
                </p:cNvPr>
                <p:cNvSpPr/>
                <p:nvPr/>
              </p:nvSpPr>
              <p:spPr>
                <a:xfrm>
                  <a:off x="3737292" y="3397395"/>
                  <a:ext cx="666022" cy="666022"/>
                </a:xfrm>
                <a:prstGeom prst="roundRect">
                  <a:avLst/>
                </a:prstGeom>
                <a:noFill/>
                <a:ln w="3175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 defTabSz="914354"/>
                  <a:endParaRPr lang="zh-CN" altLang="en-US" sz="2000" b="1" i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2" name="išľîḋé">
                  <a:extLst>
                    <a:ext uri="{FF2B5EF4-FFF2-40B4-BE49-F238E27FC236}">
                      <a16:creationId xmlns:a16="http://schemas.microsoft.com/office/drawing/2014/main" id="{5E36BBC0-D26A-40E1-8A0D-B989698C1BE8}"/>
                    </a:ext>
                  </a:extLst>
                </p:cNvPr>
                <p:cNvSpPr/>
                <p:nvPr/>
              </p:nvSpPr>
              <p:spPr>
                <a:xfrm>
                  <a:off x="3907358" y="3560357"/>
                  <a:ext cx="325892" cy="340098"/>
                </a:xfrm>
                <a:custGeom>
                  <a:avLst/>
                  <a:gdLst>
                    <a:gd name="connsiteX0" fmla="*/ 519512 w 581137"/>
                    <a:gd name="connsiteY0" fmla="*/ 332111 h 606469"/>
                    <a:gd name="connsiteX1" fmla="*/ 540163 w 581137"/>
                    <a:gd name="connsiteY1" fmla="*/ 340671 h 606469"/>
                    <a:gd name="connsiteX2" fmla="*/ 572553 w 581137"/>
                    <a:gd name="connsiteY2" fmla="*/ 373014 h 606469"/>
                    <a:gd name="connsiteX3" fmla="*/ 572553 w 581137"/>
                    <a:gd name="connsiteY3" fmla="*/ 414307 h 606469"/>
                    <a:gd name="connsiteX4" fmla="*/ 388637 w 581137"/>
                    <a:gd name="connsiteY4" fmla="*/ 597958 h 606469"/>
                    <a:gd name="connsiteX5" fmla="*/ 367986 w 581137"/>
                    <a:gd name="connsiteY5" fmla="*/ 606469 h 606469"/>
                    <a:gd name="connsiteX6" fmla="*/ 347334 w 581137"/>
                    <a:gd name="connsiteY6" fmla="*/ 597958 h 606469"/>
                    <a:gd name="connsiteX7" fmla="*/ 311096 w 581137"/>
                    <a:gd name="connsiteY7" fmla="*/ 561772 h 606469"/>
                    <a:gd name="connsiteX8" fmla="*/ 294244 w 581137"/>
                    <a:gd name="connsiteY8" fmla="*/ 544944 h 606469"/>
                    <a:gd name="connsiteX9" fmla="*/ 257860 w 581137"/>
                    <a:gd name="connsiteY9" fmla="*/ 508613 h 606469"/>
                    <a:gd name="connsiteX10" fmla="*/ 257860 w 581137"/>
                    <a:gd name="connsiteY10" fmla="*/ 467320 h 606469"/>
                    <a:gd name="connsiteX11" fmla="*/ 290250 w 581137"/>
                    <a:gd name="connsiteY11" fmla="*/ 434977 h 606469"/>
                    <a:gd name="connsiteX12" fmla="*/ 310901 w 581137"/>
                    <a:gd name="connsiteY12" fmla="*/ 426417 h 606469"/>
                    <a:gd name="connsiteX13" fmla="*/ 331553 w 581137"/>
                    <a:gd name="connsiteY13" fmla="*/ 434977 h 606469"/>
                    <a:gd name="connsiteX14" fmla="*/ 367986 w 581137"/>
                    <a:gd name="connsiteY14" fmla="*/ 471308 h 606469"/>
                    <a:gd name="connsiteX15" fmla="*/ 377970 w 581137"/>
                    <a:gd name="connsiteY15" fmla="*/ 461387 h 606469"/>
                    <a:gd name="connsiteX16" fmla="*/ 498860 w 581137"/>
                    <a:gd name="connsiteY16" fmla="*/ 340671 h 606469"/>
                    <a:gd name="connsiteX17" fmla="*/ 519512 w 581137"/>
                    <a:gd name="connsiteY17" fmla="*/ 332111 h 606469"/>
                    <a:gd name="connsiteX18" fmla="*/ 51961 w 581137"/>
                    <a:gd name="connsiteY18" fmla="*/ 289771 h 606469"/>
                    <a:gd name="connsiteX19" fmla="*/ 97543 w 581137"/>
                    <a:gd name="connsiteY19" fmla="*/ 289771 h 606469"/>
                    <a:gd name="connsiteX20" fmla="*/ 116486 w 581137"/>
                    <a:gd name="connsiteY20" fmla="*/ 304796 h 606469"/>
                    <a:gd name="connsiteX21" fmla="*/ 143368 w 581137"/>
                    <a:gd name="connsiteY21" fmla="*/ 419113 h 606469"/>
                    <a:gd name="connsiteX22" fmla="*/ 159828 w 581137"/>
                    <a:gd name="connsiteY22" fmla="*/ 445030 h 606469"/>
                    <a:gd name="connsiteX23" fmla="*/ 160120 w 581137"/>
                    <a:gd name="connsiteY23" fmla="*/ 406228 h 606469"/>
                    <a:gd name="connsiteX24" fmla="*/ 180233 w 581137"/>
                    <a:gd name="connsiteY24" fmla="*/ 331394 h 606469"/>
                    <a:gd name="connsiteX25" fmla="*/ 166792 w 581137"/>
                    <a:gd name="connsiteY25" fmla="*/ 301781 h 606469"/>
                    <a:gd name="connsiteX26" fmla="*/ 174535 w 581137"/>
                    <a:gd name="connsiteY26" fmla="*/ 289771 h 606469"/>
                    <a:gd name="connsiteX27" fmla="*/ 188998 w 581137"/>
                    <a:gd name="connsiteY27" fmla="*/ 289771 h 606469"/>
                    <a:gd name="connsiteX28" fmla="*/ 203413 w 581137"/>
                    <a:gd name="connsiteY28" fmla="*/ 289771 h 606469"/>
                    <a:gd name="connsiteX29" fmla="*/ 211156 w 581137"/>
                    <a:gd name="connsiteY29" fmla="*/ 301781 h 606469"/>
                    <a:gd name="connsiteX30" fmla="*/ 197715 w 581137"/>
                    <a:gd name="connsiteY30" fmla="*/ 331394 h 606469"/>
                    <a:gd name="connsiteX31" fmla="*/ 217876 w 581137"/>
                    <a:gd name="connsiteY31" fmla="*/ 406228 h 606469"/>
                    <a:gd name="connsiteX32" fmla="*/ 218120 w 581137"/>
                    <a:gd name="connsiteY32" fmla="*/ 445030 h 606469"/>
                    <a:gd name="connsiteX33" fmla="*/ 234580 w 581137"/>
                    <a:gd name="connsiteY33" fmla="*/ 419113 h 606469"/>
                    <a:gd name="connsiteX34" fmla="*/ 261462 w 581137"/>
                    <a:gd name="connsiteY34" fmla="*/ 304796 h 606469"/>
                    <a:gd name="connsiteX35" fmla="*/ 280405 w 581137"/>
                    <a:gd name="connsiteY35" fmla="*/ 289771 h 606469"/>
                    <a:gd name="connsiteX36" fmla="*/ 325987 w 581137"/>
                    <a:gd name="connsiteY36" fmla="*/ 289771 h 606469"/>
                    <a:gd name="connsiteX37" fmla="*/ 377948 w 581137"/>
                    <a:gd name="connsiteY37" fmla="*/ 341654 h 606469"/>
                    <a:gd name="connsiteX38" fmla="*/ 377948 w 581137"/>
                    <a:gd name="connsiteY38" fmla="*/ 433847 h 606469"/>
                    <a:gd name="connsiteX39" fmla="*/ 367965 w 581137"/>
                    <a:gd name="connsiteY39" fmla="*/ 443815 h 606469"/>
                    <a:gd name="connsiteX40" fmla="*/ 345320 w 581137"/>
                    <a:gd name="connsiteY40" fmla="*/ 421204 h 606469"/>
                    <a:gd name="connsiteX41" fmla="*/ 310890 w 581137"/>
                    <a:gd name="connsiteY41" fmla="*/ 406957 h 606469"/>
                    <a:gd name="connsiteX42" fmla="*/ 276461 w 581137"/>
                    <a:gd name="connsiteY42" fmla="*/ 421204 h 606469"/>
                    <a:gd name="connsiteX43" fmla="*/ 244076 w 581137"/>
                    <a:gd name="connsiteY43" fmla="*/ 453540 h 606469"/>
                    <a:gd name="connsiteX44" fmla="*/ 244076 w 581137"/>
                    <a:gd name="connsiteY44" fmla="*/ 522344 h 606469"/>
                    <a:gd name="connsiteX45" fmla="*/ 280454 w 581137"/>
                    <a:gd name="connsiteY45" fmla="*/ 558667 h 606469"/>
                    <a:gd name="connsiteX46" fmla="*/ 283522 w 581137"/>
                    <a:gd name="connsiteY46" fmla="*/ 561730 h 606469"/>
                    <a:gd name="connsiteX47" fmla="*/ 188998 w 581137"/>
                    <a:gd name="connsiteY47" fmla="*/ 561730 h 606469"/>
                    <a:gd name="connsiteX48" fmla="*/ 19479 w 581137"/>
                    <a:gd name="connsiteY48" fmla="*/ 561730 h 606469"/>
                    <a:gd name="connsiteX49" fmla="*/ 0 w 581137"/>
                    <a:gd name="connsiteY49" fmla="*/ 542280 h 606469"/>
                    <a:gd name="connsiteX50" fmla="*/ 0 w 581137"/>
                    <a:gd name="connsiteY50" fmla="*/ 341654 h 606469"/>
                    <a:gd name="connsiteX51" fmla="*/ 51961 w 581137"/>
                    <a:gd name="connsiteY51" fmla="*/ 289771 h 606469"/>
                    <a:gd name="connsiteX52" fmla="*/ 273435 w 581137"/>
                    <a:gd name="connsiteY52" fmla="*/ 375 h 606469"/>
                    <a:gd name="connsiteX53" fmla="*/ 303290 w 581137"/>
                    <a:gd name="connsiteY53" fmla="*/ 25467 h 606469"/>
                    <a:gd name="connsiteX54" fmla="*/ 303290 w 581137"/>
                    <a:gd name="connsiteY54" fmla="*/ 135216 h 606469"/>
                    <a:gd name="connsiteX55" fmla="*/ 303290 w 581137"/>
                    <a:gd name="connsiteY55" fmla="*/ 147422 h 606469"/>
                    <a:gd name="connsiteX56" fmla="*/ 189032 w 581137"/>
                    <a:gd name="connsiteY56" fmla="*/ 262180 h 606469"/>
                    <a:gd name="connsiteX57" fmla="*/ 73459 w 581137"/>
                    <a:gd name="connsiteY57" fmla="*/ 147422 h 606469"/>
                    <a:gd name="connsiteX58" fmla="*/ 73459 w 581137"/>
                    <a:gd name="connsiteY58" fmla="*/ 81922 h 606469"/>
                    <a:gd name="connsiteX59" fmla="*/ 115100 w 581137"/>
                    <a:gd name="connsiteY59" fmla="*/ 31059 h 606469"/>
                    <a:gd name="connsiteX60" fmla="*/ 273435 w 581137"/>
                    <a:gd name="connsiteY60" fmla="*/ 375 h 6064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</a:cxnLst>
                  <a:rect l="l" t="t" r="r" b="b"/>
                  <a:pathLst>
                    <a:path w="581137" h="606469">
                      <a:moveTo>
                        <a:pt x="519512" y="332111"/>
                      </a:moveTo>
                      <a:cubicBezTo>
                        <a:pt x="526964" y="332111"/>
                        <a:pt x="534464" y="334981"/>
                        <a:pt x="540163" y="340671"/>
                      </a:cubicBezTo>
                      <a:lnTo>
                        <a:pt x="572553" y="373014"/>
                      </a:lnTo>
                      <a:cubicBezTo>
                        <a:pt x="583999" y="384395"/>
                        <a:pt x="583999" y="402877"/>
                        <a:pt x="572553" y="414307"/>
                      </a:cubicBezTo>
                      <a:lnTo>
                        <a:pt x="388637" y="597958"/>
                      </a:lnTo>
                      <a:cubicBezTo>
                        <a:pt x="382938" y="603648"/>
                        <a:pt x="375486" y="606469"/>
                        <a:pt x="367986" y="606469"/>
                      </a:cubicBezTo>
                      <a:cubicBezTo>
                        <a:pt x="360485" y="606469"/>
                        <a:pt x="353033" y="603648"/>
                        <a:pt x="347334" y="597958"/>
                      </a:cubicBezTo>
                      <a:lnTo>
                        <a:pt x="311096" y="561772"/>
                      </a:lnTo>
                      <a:lnTo>
                        <a:pt x="294244" y="544944"/>
                      </a:lnTo>
                      <a:lnTo>
                        <a:pt x="257860" y="508613"/>
                      </a:lnTo>
                      <a:cubicBezTo>
                        <a:pt x="246414" y="497183"/>
                        <a:pt x="246414" y="478701"/>
                        <a:pt x="257860" y="467320"/>
                      </a:cubicBezTo>
                      <a:lnTo>
                        <a:pt x="290250" y="434977"/>
                      </a:lnTo>
                      <a:cubicBezTo>
                        <a:pt x="295949" y="429287"/>
                        <a:pt x="303449" y="426417"/>
                        <a:pt x="310901" y="426417"/>
                      </a:cubicBezTo>
                      <a:cubicBezTo>
                        <a:pt x="318402" y="426417"/>
                        <a:pt x="325854" y="429287"/>
                        <a:pt x="331553" y="434977"/>
                      </a:cubicBezTo>
                      <a:lnTo>
                        <a:pt x="367986" y="471308"/>
                      </a:lnTo>
                      <a:lnTo>
                        <a:pt x="377970" y="461387"/>
                      </a:lnTo>
                      <a:lnTo>
                        <a:pt x="498860" y="340671"/>
                      </a:lnTo>
                      <a:cubicBezTo>
                        <a:pt x="504559" y="334981"/>
                        <a:pt x="512011" y="332111"/>
                        <a:pt x="519512" y="332111"/>
                      </a:cubicBezTo>
                      <a:close/>
                      <a:moveTo>
                        <a:pt x="51961" y="289771"/>
                      </a:moveTo>
                      <a:lnTo>
                        <a:pt x="97543" y="289771"/>
                      </a:lnTo>
                      <a:cubicBezTo>
                        <a:pt x="106601" y="289771"/>
                        <a:pt x="114441" y="295995"/>
                        <a:pt x="116486" y="304796"/>
                      </a:cubicBezTo>
                      <a:lnTo>
                        <a:pt x="143368" y="419113"/>
                      </a:lnTo>
                      <a:cubicBezTo>
                        <a:pt x="145852" y="429665"/>
                        <a:pt x="151793" y="438660"/>
                        <a:pt x="159828" y="445030"/>
                      </a:cubicBezTo>
                      <a:cubicBezTo>
                        <a:pt x="157442" y="432193"/>
                        <a:pt x="157539" y="419016"/>
                        <a:pt x="160120" y="406228"/>
                      </a:cubicBezTo>
                      <a:lnTo>
                        <a:pt x="180233" y="331394"/>
                      </a:lnTo>
                      <a:lnTo>
                        <a:pt x="166792" y="301781"/>
                      </a:lnTo>
                      <a:cubicBezTo>
                        <a:pt x="164260" y="296141"/>
                        <a:pt x="168350" y="289771"/>
                        <a:pt x="174535" y="289771"/>
                      </a:cubicBezTo>
                      <a:lnTo>
                        <a:pt x="188998" y="289771"/>
                      </a:lnTo>
                      <a:lnTo>
                        <a:pt x="203413" y="289771"/>
                      </a:lnTo>
                      <a:cubicBezTo>
                        <a:pt x="209598" y="289771"/>
                        <a:pt x="213688" y="296141"/>
                        <a:pt x="211156" y="301781"/>
                      </a:cubicBezTo>
                      <a:lnTo>
                        <a:pt x="197715" y="331394"/>
                      </a:lnTo>
                      <a:lnTo>
                        <a:pt x="217876" y="406228"/>
                      </a:lnTo>
                      <a:cubicBezTo>
                        <a:pt x="220409" y="419016"/>
                        <a:pt x="220506" y="432193"/>
                        <a:pt x="218120" y="445030"/>
                      </a:cubicBezTo>
                      <a:cubicBezTo>
                        <a:pt x="226155" y="438660"/>
                        <a:pt x="232096" y="429665"/>
                        <a:pt x="234580" y="419113"/>
                      </a:cubicBezTo>
                      <a:lnTo>
                        <a:pt x="261462" y="304796"/>
                      </a:lnTo>
                      <a:cubicBezTo>
                        <a:pt x="263507" y="295995"/>
                        <a:pt x="271347" y="289771"/>
                        <a:pt x="280405" y="289771"/>
                      </a:cubicBezTo>
                      <a:lnTo>
                        <a:pt x="325987" y="289771"/>
                      </a:lnTo>
                      <a:cubicBezTo>
                        <a:pt x="354670" y="289771"/>
                        <a:pt x="377948" y="313014"/>
                        <a:pt x="377948" y="341654"/>
                      </a:cubicBezTo>
                      <a:lnTo>
                        <a:pt x="377948" y="433847"/>
                      </a:lnTo>
                      <a:lnTo>
                        <a:pt x="367965" y="443815"/>
                      </a:lnTo>
                      <a:lnTo>
                        <a:pt x="345320" y="421204"/>
                      </a:lnTo>
                      <a:cubicBezTo>
                        <a:pt x="336116" y="412014"/>
                        <a:pt x="323893" y="406957"/>
                        <a:pt x="310890" y="406957"/>
                      </a:cubicBezTo>
                      <a:cubicBezTo>
                        <a:pt x="297888" y="406957"/>
                        <a:pt x="285665" y="412014"/>
                        <a:pt x="276461" y="421204"/>
                      </a:cubicBezTo>
                      <a:lnTo>
                        <a:pt x="244076" y="453540"/>
                      </a:lnTo>
                      <a:cubicBezTo>
                        <a:pt x="225084" y="472503"/>
                        <a:pt x="225084" y="503380"/>
                        <a:pt x="244076" y="522344"/>
                      </a:cubicBezTo>
                      <a:lnTo>
                        <a:pt x="280454" y="558667"/>
                      </a:lnTo>
                      <a:lnTo>
                        <a:pt x="283522" y="561730"/>
                      </a:lnTo>
                      <a:lnTo>
                        <a:pt x="188998" y="561730"/>
                      </a:lnTo>
                      <a:lnTo>
                        <a:pt x="19479" y="561730"/>
                      </a:lnTo>
                      <a:cubicBezTo>
                        <a:pt x="8766" y="561730"/>
                        <a:pt x="0" y="553026"/>
                        <a:pt x="0" y="542280"/>
                      </a:cubicBezTo>
                      <a:lnTo>
                        <a:pt x="0" y="341654"/>
                      </a:lnTo>
                      <a:cubicBezTo>
                        <a:pt x="0" y="313014"/>
                        <a:pt x="23278" y="289771"/>
                        <a:pt x="51961" y="289771"/>
                      </a:cubicBezTo>
                      <a:close/>
                      <a:moveTo>
                        <a:pt x="273435" y="375"/>
                      </a:moveTo>
                      <a:cubicBezTo>
                        <a:pt x="289020" y="-2299"/>
                        <a:pt x="303290" y="9663"/>
                        <a:pt x="303290" y="25467"/>
                      </a:cubicBezTo>
                      <a:lnTo>
                        <a:pt x="303290" y="135216"/>
                      </a:lnTo>
                      <a:lnTo>
                        <a:pt x="303290" y="147422"/>
                      </a:lnTo>
                      <a:cubicBezTo>
                        <a:pt x="303290" y="210831"/>
                        <a:pt x="252492" y="262180"/>
                        <a:pt x="189032" y="262180"/>
                      </a:cubicBezTo>
                      <a:cubicBezTo>
                        <a:pt x="125523" y="262180"/>
                        <a:pt x="73459" y="210831"/>
                        <a:pt x="73459" y="147422"/>
                      </a:cubicBezTo>
                      <a:lnTo>
                        <a:pt x="73459" y="81922"/>
                      </a:lnTo>
                      <a:cubicBezTo>
                        <a:pt x="73459" y="57220"/>
                        <a:pt x="90895" y="35970"/>
                        <a:pt x="115100" y="31059"/>
                      </a:cubicBezTo>
                      <a:cubicBezTo>
                        <a:pt x="136238" y="26828"/>
                        <a:pt x="254538" y="3585"/>
                        <a:pt x="273435" y="375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28575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354"/>
                  <a:endParaRPr lang="zh-CN" altLang="en-US" sz="2000" b="1" i="1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40" name="ïSḷîḍe">
              <a:extLst>
                <a:ext uri="{FF2B5EF4-FFF2-40B4-BE49-F238E27FC236}">
                  <a16:creationId xmlns:a16="http://schemas.microsoft.com/office/drawing/2014/main" id="{51E32FA0-98E7-49C7-BFCD-E6B8B8F1CC25}"/>
                </a:ext>
              </a:extLst>
            </p:cNvPr>
            <p:cNvGrpSpPr/>
            <p:nvPr/>
          </p:nvGrpSpPr>
          <p:grpSpPr>
            <a:xfrm>
              <a:off x="7287100" y="2848529"/>
              <a:ext cx="1643795" cy="2896272"/>
              <a:chOff x="7287100" y="2848529"/>
              <a:chExt cx="1643795" cy="2896272"/>
            </a:xfrm>
          </p:grpSpPr>
          <p:grpSp>
            <p:nvGrpSpPr>
              <p:cNvPr id="61" name="ï$ḻîḑé">
                <a:extLst>
                  <a:ext uri="{FF2B5EF4-FFF2-40B4-BE49-F238E27FC236}">
                    <a16:creationId xmlns:a16="http://schemas.microsoft.com/office/drawing/2014/main" id="{04E34C0F-CF10-4042-B543-75416D5E6F98}"/>
                  </a:ext>
                </a:extLst>
              </p:cNvPr>
              <p:cNvGrpSpPr/>
              <p:nvPr/>
            </p:nvGrpSpPr>
            <p:grpSpPr>
              <a:xfrm>
                <a:off x="7287100" y="4297802"/>
                <a:ext cx="1643795" cy="1446999"/>
                <a:chOff x="1878003" y="4193310"/>
                <a:chExt cx="1643795" cy="1446999"/>
              </a:xfrm>
            </p:grpSpPr>
            <p:sp>
              <p:nvSpPr>
                <p:cNvPr id="66" name="iṥľiḓe">
                  <a:extLst>
                    <a:ext uri="{FF2B5EF4-FFF2-40B4-BE49-F238E27FC236}">
                      <a16:creationId xmlns:a16="http://schemas.microsoft.com/office/drawing/2014/main" id="{A62F3B37-0EF2-4FBE-A89D-ABAE4C7F36E5}"/>
                    </a:ext>
                  </a:extLst>
                </p:cNvPr>
                <p:cNvSpPr txBox="1"/>
                <p:nvPr/>
              </p:nvSpPr>
              <p:spPr>
                <a:xfrm>
                  <a:off x="1878003" y="4193310"/>
                  <a:ext cx="1643795" cy="446696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rtlCol="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r>
                    <a:rPr lang="es-DO" altLang="zh-CN" sz="1600" b="1" dirty="0"/>
                    <a:t>Detalles</a:t>
                  </a:r>
                  <a:endParaRPr lang="en-US" altLang="zh-CN" sz="1600" b="1" dirty="0"/>
                </a:p>
              </p:txBody>
            </p:sp>
            <p:sp>
              <p:nvSpPr>
                <p:cNvPr id="67" name="i$ļïďé">
                  <a:extLst>
                    <a:ext uri="{FF2B5EF4-FFF2-40B4-BE49-F238E27FC236}">
                      <a16:creationId xmlns:a16="http://schemas.microsoft.com/office/drawing/2014/main" id="{92870E17-D534-42CA-A22E-88FC74D50478}"/>
                    </a:ext>
                  </a:extLst>
                </p:cNvPr>
                <p:cNvSpPr/>
                <p:nvPr/>
              </p:nvSpPr>
              <p:spPr bwMode="auto">
                <a:xfrm>
                  <a:off x="1878003" y="4640008"/>
                  <a:ext cx="1643795" cy="100030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100" dirty="0"/>
                    <a:t>¿</a:t>
                  </a:r>
                  <a:r>
                    <a:rPr lang="en-US" altLang="zh-CN" sz="1100" dirty="0" err="1"/>
                    <a:t>Qué</a:t>
                  </a:r>
                  <a:r>
                    <a:rPr lang="en-US" altLang="zh-CN" sz="1100" dirty="0"/>
                    <a:t> </a:t>
                  </a:r>
                  <a:r>
                    <a:rPr lang="en-US" altLang="zh-CN" sz="1100" dirty="0" err="1"/>
                    <a:t>elementos</a:t>
                  </a:r>
                  <a:r>
                    <a:rPr lang="en-US" altLang="zh-CN" sz="1100" dirty="0"/>
                    <a:t> y </a:t>
                  </a:r>
                  <a:r>
                    <a:rPr lang="en-US" altLang="zh-CN" sz="1100" dirty="0" err="1"/>
                    <a:t>aspectos</a:t>
                  </a:r>
                  <a:r>
                    <a:rPr lang="en-US" altLang="zh-CN" sz="1100" dirty="0"/>
                    <a:t> </a:t>
                  </a:r>
                  <a:r>
                    <a:rPr lang="en-US" altLang="zh-CN" sz="1100" dirty="0" err="1"/>
                    <a:t>tiene</a:t>
                  </a:r>
                  <a:r>
                    <a:rPr lang="en-US" altLang="zh-CN" sz="1100" dirty="0"/>
                    <a:t> </a:t>
                  </a:r>
                  <a:r>
                    <a:rPr lang="en-US" altLang="zh-CN" sz="1100" dirty="0" err="1"/>
                    <a:t>el</a:t>
                  </a:r>
                  <a:r>
                    <a:rPr lang="en-US" altLang="zh-CN" sz="1100" dirty="0"/>
                    <a:t> virus?</a:t>
                  </a:r>
                </a:p>
              </p:txBody>
            </p:sp>
          </p:grpSp>
          <p:sp>
            <p:nvSpPr>
              <p:cNvPr id="62" name="íŝliďe">
                <a:extLst>
                  <a:ext uri="{FF2B5EF4-FFF2-40B4-BE49-F238E27FC236}">
                    <a16:creationId xmlns:a16="http://schemas.microsoft.com/office/drawing/2014/main" id="{396802C9-8E22-413A-90B8-52957F8FFC4E}"/>
                  </a:ext>
                </a:extLst>
              </p:cNvPr>
              <p:cNvSpPr txBox="1"/>
              <p:nvPr/>
            </p:nvSpPr>
            <p:spPr>
              <a:xfrm>
                <a:off x="7830307" y="2848529"/>
                <a:ext cx="557380" cy="54886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2000"/>
                  <a:t>0</a:t>
                </a:r>
                <a:r>
                  <a:rPr lang="en-US" altLang="zh-CN" sz="100"/>
                  <a:t> </a:t>
                </a:r>
                <a:r>
                  <a:rPr lang="en-US" altLang="zh-CN" sz="2000"/>
                  <a:t>4</a:t>
                </a:r>
                <a:endParaRPr lang="id-ID" sz="2000" dirty="0"/>
              </a:p>
            </p:txBody>
          </p:sp>
          <p:grpSp>
            <p:nvGrpSpPr>
              <p:cNvPr id="63" name="îṥ1iḋé">
                <a:extLst>
                  <a:ext uri="{FF2B5EF4-FFF2-40B4-BE49-F238E27FC236}">
                    <a16:creationId xmlns:a16="http://schemas.microsoft.com/office/drawing/2014/main" id="{148487F8-DA7A-4697-99AA-B68784B55868}"/>
                  </a:ext>
                </a:extLst>
              </p:cNvPr>
              <p:cNvGrpSpPr/>
              <p:nvPr/>
            </p:nvGrpSpPr>
            <p:grpSpPr>
              <a:xfrm>
                <a:off x="7775986" y="3397395"/>
                <a:ext cx="666022" cy="666022"/>
                <a:chOff x="7775986" y="3397395"/>
                <a:chExt cx="666022" cy="666022"/>
              </a:xfrm>
            </p:grpSpPr>
            <p:sp>
              <p:nvSpPr>
                <p:cNvPr id="64" name="iṥľîḋê">
                  <a:extLst>
                    <a:ext uri="{FF2B5EF4-FFF2-40B4-BE49-F238E27FC236}">
                      <a16:creationId xmlns:a16="http://schemas.microsoft.com/office/drawing/2014/main" id="{A6F24532-66E5-4164-99D6-D6D8EF56ED5B}"/>
                    </a:ext>
                  </a:extLst>
                </p:cNvPr>
                <p:cNvSpPr/>
                <p:nvPr/>
              </p:nvSpPr>
              <p:spPr>
                <a:xfrm>
                  <a:off x="7775986" y="3397395"/>
                  <a:ext cx="666022" cy="666022"/>
                </a:xfrm>
                <a:prstGeom prst="roundRect">
                  <a:avLst/>
                </a:prstGeom>
                <a:noFill/>
                <a:ln w="3175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 defTabSz="914354"/>
                  <a:endParaRPr lang="zh-CN" altLang="en-US" sz="2000" b="1" i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5" name="îSľíḑè">
                  <a:extLst>
                    <a:ext uri="{FF2B5EF4-FFF2-40B4-BE49-F238E27FC236}">
                      <a16:creationId xmlns:a16="http://schemas.microsoft.com/office/drawing/2014/main" id="{47904B85-1EF8-493D-8493-E4D3D0359037}"/>
                    </a:ext>
                  </a:extLst>
                </p:cNvPr>
                <p:cNvSpPr/>
                <p:nvPr/>
              </p:nvSpPr>
              <p:spPr>
                <a:xfrm>
                  <a:off x="7946876" y="3560357"/>
                  <a:ext cx="324243" cy="340098"/>
                </a:xfrm>
                <a:custGeom>
                  <a:avLst/>
                  <a:gdLst>
                    <a:gd name="connsiteX0" fmla="*/ 272000 w 578707"/>
                    <a:gd name="connsiteY0" fmla="*/ 341347 h 607004"/>
                    <a:gd name="connsiteX1" fmla="*/ 256491 w 578707"/>
                    <a:gd name="connsiteY1" fmla="*/ 346871 h 607004"/>
                    <a:gd name="connsiteX2" fmla="*/ 251177 w 578707"/>
                    <a:gd name="connsiteY2" fmla="*/ 353152 h 607004"/>
                    <a:gd name="connsiteX3" fmla="*/ 251177 w 578707"/>
                    <a:gd name="connsiteY3" fmla="*/ 369180 h 607004"/>
                    <a:gd name="connsiteX4" fmla="*/ 248682 w 578707"/>
                    <a:gd name="connsiteY4" fmla="*/ 370913 h 607004"/>
                    <a:gd name="connsiteX5" fmla="*/ 247164 w 578707"/>
                    <a:gd name="connsiteY5" fmla="*/ 375786 h 607004"/>
                    <a:gd name="connsiteX6" fmla="*/ 250634 w 578707"/>
                    <a:gd name="connsiteY6" fmla="*/ 409900 h 607004"/>
                    <a:gd name="connsiteX7" fmla="*/ 255298 w 578707"/>
                    <a:gd name="connsiteY7" fmla="*/ 415424 h 607004"/>
                    <a:gd name="connsiteX8" fmla="*/ 257033 w 578707"/>
                    <a:gd name="connsiteY8" fmla="*/ 415640 h 607004"/>
                    <a:gd name="connsiteX9" fmla="*/ 262130 w 578707"/>
                    <a:gd name="connsiteY9" fmla="*/ 413041 h 607004"/>
                    <a:gd name="connsiteX10" fmla="*/ 280134 w 578707"/>
                    <a:gd name="connsiteY10" fmla="*/ 389215 h 607004"/>
                    <a:gd name="connsiteX11" fmla="*/ 281435 w 578707"/>
                    <a:gd name="connsiteY11" fmla="*/ 385317 h 607004"/>
                    <a:gd name="connsiteX12" fmla="*/ 281435 w 578707"/>
                    <a:gd name="connsiteY12" fmla="*/ 346979 h 607004"/>
                    <a:gd name="connsiteX13" fmla="*/ 278290 w 578707"/>
                    <a:gd name="connsiteY13" fmla="*/ 341564 h 607004"/>
                    <a:gd name="connsiteX14" fmla="*/ 272000 w 578707"/>
                    <a:gd name="connsiteY14" fmla="*/ 341347 h 607004"/>
                    <a:gd name="connsiteX15" fmla="*/ 190768 w 578707"/>
                    <a:gd name="connsiteY15" fmla="*/ 341347 h 607004"/>
                    <a:gd name="connsiteX16" fmla="*/ 184478 w 578707"/>
                    <a:gd name="connsiteY16" fmla="*/ 341564 h 607004"/>
                    <a:gd name="connsiteX17" fmla="*/ 181333 w 578707"/>
                    <a:gd name="connsiteY17" fmla="*/ 346979 h 607004"/>
                    <a:gd name="connsiteX18" fmla="*/ 181333 w 578707"/>
                    <a:gd name="connsiteY18" fmla="*/ 385317 h 607004"/>
                    <a:gd name="connsiteX19" fmla="*/ 182634 w 578707"/>
                    <a:gd name="connsiteY19" fmla="*/ 389215 h 607004"/>
                    <a:gd name="connsiteX20" fmla="*/ 200638 w 578707"/>
                    <a:gd name="connsiteY20" fmla="*/ 413041 h 607004"/>
                    <a:gd name="connsiteX21" fmla="*/ 205843 w 578707"/>
                    <a:gd name="connsiteY21" fmla="*/ 415640 h 607004"/>
                    <a:gd name="connsiteX22" fmla="*/ 207579 w 578707"/>
                    <a:gd name="connsiteY22" fmla="*/ 415424 h 607004"/>
                    <a:gd name="connsiteX23" fmla="*/ 212242 w 578707"/>
                    <a:gd name="connsiteY23" fmla="*/ 409900 h 607004"/>
                    <a:gd name="connsiteX24" fmla="*/ 215713 w 578707"/>
                    <a:gd name="connsiteY24" fmla="*/ 375786 h 607004"/>
                    <a:gd name="connsiteX25" fmla="*/ 214086 w 578707"/>
                    <a:gd name="connsiteY25" fmla="*/ 370805 h 607004"/>
                    <a:gd name="connsiteX26" fmla="*/ 211700 w 578707"/>
                    <a:gd name="connsiteY26" fmla="*/ 369180 h 607004"/>
                    <a:gd name="connsiteX27" fmla="*/ 211700 w 578707"/>
                    <a:gd name="connsiteY27" fmla="*/ 353152 h 607004"/>
                    <a:gd name="connsiteX28" fmla="*/ 206386 w 578707"/>
                    <a:gd name="connsiteY28" fmla="*/ 346871 h 607004"/>
                    <a:gd name="connsiteX29" fmla="*/ 190768 w 578707"/>
                    <a:gd name="connsiteY29" fmla="*/ 341347 h 607004"/>
                    <a:gd name="connsiteX30" fmla="*/ 200746 w 578707"/>
                    <a:gd name="connsiteY30" fmla="*/ 168936 h 607004"/>
                    <a:gd name="connsiteX31" fmla="*/ 156172 w 578707"/>
                    <a:gd name="connsiteY31" fmla="*/ 180740 h 607004"/>
                    <a:gd name="connsiteX32" fmla="*/ 152593 w 578707"/>
                    <a:gd name="connsiteY32" fmla="*/ 186480 h 607004"/>
                    <a:gd name="connsiteX33" fmla="*/ 152593 w 578707"/>
                    <a:gd name="connsiteY33" fmla="*/ 197851 h 607004"/>
                    <a:gd name="connsiteX34" fmla="*/ 149990 w 578707"/>
                    <a:gd name="connsiteY34" fmla="*/ 197851 h 607004"/>
                    <a:gd name="connsiteX35" fmla="*/ 143591 w 578707"/>
                    <a:gd name="connsiteY35" fmla="*/ 204349 h 607004"/>
                    <a:gd name="connsiteX36" fmla="*/ 143591 w 578707"/>
                    <a:gd name="connsiteY36" fmla="*/ 214854 h 607004"/>
                    <a:gd name="connsiteX37" fmla="*/ 146520 w 578707"/>
                    <a:gd name="connsiteY37" fmla="*/ 220269 h 607004"/>
                    <a:gd name="connsiteX38" fmla="*/ 152702 w 578707"/>
                    <a:gd name="connsiteY38" fmla="*/ 224276 h 607004"/>
                    <a:gd name="connsiteX39" fmla="*/ 153135 w 578707"/>
                    <a:gd name="connsiteY39" fmla="*/ 226984 h 607004"/>
                    <a:gd name="connsiteX40" fmla="*/ 176127 w 578707"/>
                    <a:gd name="connsiteY40" fmla="*/ 280050 h 607004"/>
                    <a:gd name="connsiteX41" fmla="*/ 214194 w 578707"/>
                    <a:gd name="connsiteY41" fmla="*/ 312973 h 607004"/>
                    <a:gd name="connsiteX42" fmla="*/ 248682 w 578707"/>
                    <a:gd name="connsiteY42" fmla="*/ 312973 h 607004"/>
                    <a:gd name="connsiteX43" fmla="*/ 286749 w 578707"/>
                    <a:gd name="connsiteY43" fmla="*/ 280050 h 607004"/>
                    <a:gd name="connsiteX44" fmla="*/ 309741 w 578707"/>
                    <a:gd name="connsiteY44" fmla="*/ 226984 h 607004"/>
                    <a:gd name="connsiteX45" fmla="*/ 310067 w 578707"/>
                    <a:gd name="connsiteY45" fmla="*/ 224276 h 607004"/>
                    <a:gd name="connsiteX46" fmla="*/ 316357 w 578707"/>
                    <a:gd name="connsiteY46" fmla="*/ 220269 h 607004"/>
                    <a:gd name="connsiteX47" fmla="*/ 319285 w 578707"/>
                    <a:gd name="connsiteY47" fmla="*/ 214854 h 607004"/>
                    <a:gd name="connsiteX48" fmla="*/ 319285 w 578707"/>
                    <a:gd name="connsiteY48" fmla="*/ 204349 h 607004"/>
                    <a:gd name="connsiteX49" fmla="*/ 312778 w 578707"/>
                    <a:gd name="connsiteY49" fmla="*/ 197851 h 607004"/>
                    <a:gd name="connsiteX50" fmla="*/ 309307 w 578707"/>
                    <a:gd name="connsiteY50" fmla="*/ 197851 h 607004"/>
                    <a:gd name="connsiteX51" fmla="*/ 307247 w 578707"/>
                    <a:gd name="connsiteY51" fmla="*/ 195794 h 607004"/>
                    <a:gd name="connsiteX52" fmla="*/ 301173 w 578707"/>
                    <a:gd name="connsiteY52" fmla="*/ 195252 h 607004"/>
                    <a:gd name="connsiteX53" fmla="*/ 275795 w 578707"/>
                    <a:gd name="connsiteY53" fmla="*/ 201100 h 607004"/>
                    <a:gd name="connsiteX54" fmla="*/ 236427 w 578707"/>
                    <a:gd name="connsiteY54" fmla="*/ 183231 h 607004"/>
                    <a:gd name="connsiteX55" fmla="*/ 200746 w 578707"/>
                    <a:gd name="connsiteY55" fmla="*/ 168936 h 607004"/>
                    <a:gd name="connsiteX56" fmla="*/ 417667 w 578707"/>
                    <a:gd name="connsiteY56" fmla="*/ 57723 h 607004"/>
                    <a:gd name="connsiteX57" fmla="*/ 430673 w 578707"/>
                    <a:gd name="connsiteY57" fmla="*/ 70828 h 607004"/>
                    <a:gd name="connsiteX58" fmla="*/ 430673 w 578707"/>
                    <a:gd name="connsiteY58" fmla="*/ 154334 h 607004"/>
                    <a:gd name="connsiteX59" fmla="*/ 481940 w 578707"/>
                    <a:gd name="connsiteY59" fmla="*/ 154334 h 607004"/>
                    <a:gd name="connsiteX60" fmla="*/ 494946 w 578707"/>
                    <a:gd name="connsiteY60" fmla="*/ 167439 h 607004"/>
                    <a:gd name="connsiteX61" fmla="*/ 481940 w 578707"/>
                    <a:gd name="connsiteY61" fmla="*/ 180436 h 607004"/>
                    <a:gd name="connsiteX62" fmla="*/ 417667 w 578707"/>
                    <a:gd name="connsiteY62" fmla="*/ 180436 h 607004"/>
                    <a:gd name="connsiteX63" fmla="*/ 404552 w 578707"/>
                    <a:gd name="connsiteY63" fmla="*/ 167439 h 607004"/>
                    <a:gd name="connsiteX64" fmla="*/ 404552 w 578707"/>
                    <a:gd name="connsiteY64" fmla="*/ 70828 h 607004"/>
                    <a:gd name="connsiteX65" fmla="*/ 417667 w 578707"/>
                    <a:gd name="connsiteY65" fmla="*/ 57723 h 607004"/>
                    <a:gd name="connsiteX66" fmla="*/ 215170 w 578707"/>
                    <a:gd name="connsiteY66" fmla="*/ 47208 h 607004"/>
                    <a:gd name="connsiteX67" fmla="*/ 247706 w 578707"/>
                    <a:gd name="connsiteY67" fmla="*/ 47208 h 607004"/>
                    <a:gd name="connsiteX68" fmla="*/ 347808 w 578707"/>
                    <a:gd name="connsiteY68" fmla="*/ 147276 h 607004"/>
                    <a:gd name="connsiteX69" fmla="*/ 347808 w 578707"/>
                    <a:gd name="connsiteY69" fmla="*/ 178683 h 607004"/>
                    <a:gd name="connsiteX70" fmla="*/ 353556 w 578707"/>
                    <a:gd name="connsiteY70" fmla="*/ 196552 h 607004"/>
                    <a:gd name="connsiteX71" fmla="*/ 353556 w 578707"/>
                    <a:gd name="connsiteY71" fmla="*/ 218861 h 607004"/>
                    <a:gd name="connsiteX72" fmla="*/ 342494 w 578707"/>
                    <a:gd name="connsiteY72" fmla="*/ 242579 h 607004"/>
                    <a:gd name="connsiteX73" fmla="*/ 335987 w 578707"/>
                    <a:gd name="connsiteY73" fmla="*/ 259473 h 607004"/>
                    <a:gd name="connsiteX74" fmla="*/ 314405 w 578707"/>
                    <a:gd name="connsiteY74" fmla="*/ 299977 h 607004"/>
                    <a:gd name="connsiteX75" fmla="*/ 299763 w 578707"/>
                    <a:gd name="connsiteY75" fmla="*/ 318605 h 607004"/>
                    <a:gd name="connsiteX76" fmla="*/ 310717 w 578707"/>
                    <a:gd name="connsiteY76" fmla="*/ 332142 h 607004"/>
                    <a:gd name="connsiteX77" fmla="*/ 382079 w 578707"/>
                    <a:gd name="connsiteY77" fmla="*/ 353693 h 607004"/>
                    <a:gd name="connsiteX78" fmla="*/ 462768 w 578707"/>
                    <a:gd name="connsiteY78" fmla="*/ 588052 h 607004"/>
                    <a:gd name="connsiteX79" fmla="*/ 443789 w 578707"/>
                    <a:gd name="connsiteY79" fmla="*/ 607004 h 607004"/>
                    <a:gd name="connsiteX80" fmla="*/ 18979 w 578707"/>
                    <a:gd name="connsiteY80" fmla="*/ 607004 h 607004"/>
                    <a:gd name="connsiteX81" fmla="*/ 0 w 578707"/>
                    <a:gd name="connsiteY81" fmla="*/ 588052 h 607004"/>
                    <a:gd name="connsiteX82" fmla="*/ 325 w 578707"/>
                    <a:gd name="connsiteY82" fmla="*/ 585128 h 607004"/>
                    <a:gd name="connsiteX83" fmla="*/ 80689 w 578707"/>
                    <a:gd name="connsiteY83" fmla="*/ 353693 h 607004"/>
                    <a:gd name="connsiteX84" fmla="*/ 152159 w 578707"/>
                    <a:gd name="connsiteY84" fmla="*/ 332142 h 607004"/>
                    <a:gd name="connsiteX85" fmla="*/ 163005 w 578707"/>
                    <a:gd name="connsiteY85" fmla="*/ 318605 h 607004"/>
                    <a:gd name="connsiteX86" fmla="*/ 148363 w 578707"/>
                    <a:gd name="connsiteY86" fmla="*/ 299977 h 607004"/>
                    <a:gd name="connsiteX87" fmla="*/ 126781 w 578707"/>
                    <a:gd name="connsiteY87" fmla="*/ 259582 h 607004"/>
                    <a:gd name="connsiteX88" fmla="*/ 120383 w 578707"/>
                    <a:gd name="connsiteY88" fmla="*/ 242471 h 607004"/>
                    <a:gd name="connsiteX89" fmla="*/ 109320 w 578707"/>
                    <a:gd name="connsiteY89" fmla="*/ 218861 h 607004"/>
                    <a:gd name="connsiteX90" fmla="*/ 109320 w 578707"/>
                    <a:gd name="connsiteY90" fmla="*/ 196552 h 607004"/>
                    <a:gd name="connsiteX91" fmla="*/ 115068 w 578707"/>
                    <a:gd name="connsiteY91" fmla="*/ 178683 h 607004"/>
                    <a:gd name="connsiteX92" fmla="*/ 115068 w 578707"/>
                    <a:gd name="connsiteY92" fmla="*/ 147276 h 607004"/>
                    <a:gd name="connsiteX93" fmla="*/ 215170 w 578707"/>
                    <a:gd name="connsiteY93" fmla="*/ 47208 h 607004"/>
                    <a:gd name="connsiteX94" fmla="*/ 415135 w 578707"/>
                    <a:gd name="connsiteY94" fmla="*/ 0 h 607004"/>
                    <a:gd name="connsiteX95" fmla="*/ 578707 w 578707"/>
                    <a:gd name="connsiteY95" fmla="*/ 163305 h 607004"/>
                    <a:gd name="connsiteX96" fmla="*/ 415135 w 578707"/>
                    <a:gd name="connsiteY96" fmla="*/ 326718 h 607004"/>
                    <a:gd name="connsiteX97" fmla="*/ 344955 w 578707"/>
                    <a:gd name="connsiteY97" fmla="*/ 310907 h 607004"/>
                    <a:gd name="connsiteX98" fmla="*/ 360357 w 578707"/>
                    <a:gd name="connsiteY98" fmla="*/ 279719 h 607004"/>
                    <a:gd name="connsiteX99" fmla="*/ 415135 w 578707"/>
                    <a:gd name="connsiteY99" fmla="*/ 291956 h 607004"/>
                    <a:gd name="connsiteX100" fmla="*/ 543888 w 578707"/>
                    <a:gd name="connsiteY100" fmla="*/ 163305 h 607004"/>
                    <a:gd name="connsiteX101" fmla="*/ 415135 w 578707"/>
                    <a:gd name="connsiteY101" fmla="*/ 34762 h 607004"/>
                    <a:gd name="connsiteX102" fmla="*/ 339097 w 578707"/>
                    <a:gd name="connsiteY102" fmla="*/ 59561 h 607004"/>
                    <a:gd name="connsiteX103" fmla="*/ 311546 w 578707"/>
                    <a:gd name="connsiteY103" fmla="*/ 37036 h 607004"/>
                    <a:gd name="connsiteX104" fmla="*/ 415135 w 578707"/>
                    <a:gd name="connsiteY104" fmla="*/ 0 h 6070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</a:cxnLst>
                  <a:rect l="l" t="t" r="r" b="b"/>
                  <a:pathLst>
                    <a:path w="578707" h="607004">
                      <a:moveTo>
                        <a:pt x="272000" y="341347"/>
                      </a:moveTo>
                      <a:cubicBezTo>
                        <a:pt x="266794" y="344163"/>
                        <a:pt x="261588" y="346004"/>
                        <a:pt x="256491" y="346871"/>
                      </a:cubicBezTo>
                      <a:cubicBezTo>
                        <a:pt x="253346" y="347412"/>
                        <a:pt x="251177" y="350119"/>
                        <a:pt x="251177" y="353152"/>
                      </a:cubicBezTo>
                      <a:lnTo>
                        <a:pt x="251177" y="369180"/>
                      </a:lnTo>
                      <a:cubicBezTo>
                        <a:pt x="250201" y="369505"/>
                        <a:pt x="249441" y="370155"/>
                        <a:pt x="248682" y="370913"/>
                      </a:cubicBezTo>
                      <a:cubicBezTo>
                        <a:pt x="247489" y="372212"/>
                        <a:pt x="246947" y="374053"/>
                        <a:pt x="247164" y="375786"/>
                      </a:cubicBezTo>
                      <a:lnTo>
                        <a:pt x="250634" y="409900"/>
                      </a:lnTo>
                      <a:cubicBezTo>
                        <a:pt x="250960" y="412500"/>
                        <a:pt x="252803" y="414665"/>
                        <a:pt x="255298" y="415424"/>
                      </a:cubicBezTo>
                      <a:cubicBezTo>
                        <a:pt x="255840" y="415532"/>
                        <a:pt x="256491" y="415640"/>
                        <a:pt x="257033" y="415640"/>
                      </a:cubicBezTo>
                      <a:cubicBezTo>
                        <a:pt x="258985" y="415640"/>
                        <a:pt x="260937" y="414665"/>
                        <a:pt x="262130" y="413041"/>
                      </a:cubicBezTo>
                      <a:lnTo>
                        <a:pt x="280134" y="389215"/>
                      </a:lnTo>
                      <a:cubicBezTo>
                        <a:pt x="281001" y="388132"/>
                        <a:pt x="281435" y="386724"/>
                        <a:pt x="281435" y="385317"/>
                      </a:cubicBezTo>
                      <a:lnTo>
                        <a:pt x="281435" y="346979"/>
                      </a:lnTo>
                      <a:cubicBezTo>
                        <a:pt x="281435" y="344813"/>
                        <a:pt x="280242" y="342647"/>
                        <a:pt x="278290" y="341564"/>
                      </a:cubicBezTo>
                      <a:cubicBezTo>
                        <a:pt x="276446" y="340373"/>
                        <a:pt x="274060" y="340264"/>
                        <a:pt x="272000" y="341347"/>
                      </a:cubicBezTo>
                      <a:close/>
                      <a:moveTo>
                        <a:pt x="190768" y="341347"/>
                      </a:moveTo>
                      <a:cubicBezTo>
                        <a:pt x="188816" y="340264"/>
                        <a:pt x="186430" y="340373"/>
                        <a:pt x="184478" y="341564"/>
                      </a:cubicBezTo>
                      <a:cubicBezTo>
                        <a:pt x="182526" y="342647"/>
                        <a:pt x="181333" y="344813"/>
                        <a:pt x="181333" y="346979"/>
                      </a:cubicBezTo>
                      <a:lnTo>
                        <a:pt x="181333" y="385317"/>
                      </a:lnTo>
                      <a:cubicBezTo>
                        <a:pt x="181333" y="386724"/>
                        <a:pt x="181767" y="388132"/>
                        <a:pt x="182634" y="389215"/>
                      </a:cubicBezTo>
                      <a:lnTo>
                        <a:pt x="200638" y="413041"/>
                      </a:lnTo>
                      <a:cubicBezTo>
                        <a:pt x="201939" y="414665"/>
                        <a:pt x="203783" y="415640"/>
                        <a:pt x="205843" y="415640"/>
                      </a:cubicBezTo>
                      <a:cubicBezTo>
                        <a:pt x="206386" y="415640"/>
                        <a:pt x="206928" y="415532"/>
                        <a:pt x="207579" y="415424"/>
                      </a:cubicBezTo>
                      <a:cubicBezTo>
                        <a:pt x="210073" y="414665"/>
                        <a:pt x="211917" y="412500"/>
                        <a:pt x="212242" y="409900"/>
                      </a:cubicBezTo>
                      <a:lnTo>
                        <a:pt x="215713" y="375786"/>
                      </a:lnTo>
                      <a:cubicBezTo>
                        <a:pt x="215929" y="374053"/>
                        <a:pt x="215279" y="372212"/>
                        <a:pt x="214086" y="370805"/>
                      </a:cubicBezTo>
                      <a:cubicBezTo>
                        <a:pt x="213435" y="370155"/>
                        <a:pt x="212567" y="369505"/>
                        <a:pt x="211700" y="369180"/>
                      </a:cubicBezTo>
                      <a:lnTo>
                        <a:pt x="211700" y="353152"/>
                      </a:lnTo>
                      <a:cubicBezTo>
                        <a:pt x="211700" y="350119"/>
                        <a:pt x="209422" y="347412"/>
                        <a:pt x="206386" y="346871"/>
                      </a:cubicBezTo>
                      <a:cubicBezTo>
                        <a:pt x="201288" y="346004"/>
                        <a:pt x="196083" y="344163"/>
                        <a:pt x="190768" y="341347"/>
                      </a:cubicBezTo>
                      <a:close/>
                      <a:moveTo>
                        <a:pt x="200746" y="168936"/>
                      </a:moveTo>
                      <a:cubicBezTo>
                        <a:pt x="182526" y="168936"/>
                        <a:pt x="165065" y="176300"/>
                        <a:pt x="156172" y="180740"/>
                      </a:cubicBezTo>
                      <a:cubicBezTo>
                        <a:pt x="154003" y="181823"/>
                        <a:pt x="152593" y="183989"/>
                        <a:pt x="152593" y="186480"/>
                      </a:cubicBezTo>
                      <a:lnTo>
                        <a:pt x="152593" y="197851"/>
                      </a:lnTo>
                      <a:lnTo>
                        <a:pt x="149990" y="197851"/>
                      </a:lnTo>
                      <a:cubicBezTo>
                        <a:pt x="146520" y="197851"/>
                        <a:pt x="143591" y="200776"/>
                        <a:pt x="143591" y="204349"/>
                      </a:cubicBezTo>
                      <a:lnTo>
                        <a:pt x="143591" y="214854"/>
                      </a:lnTo>
                      <a:cubicBezTo>
                        <a:pt x="143591" y="217020"/>
                        <a:pt x="144676" y="219078"/>
                        <a:pt x="146520" y="220269"/>
                      </a:cubicBezTo>
                      <a:lnTo>
                        <a:pt x="152702" y="224276"/>
                      </a:lnTo>
                      <a:lnTo>
                        <a:pt x="153135" y="226984"/>
                      </a:lnTo>
                      <a:cubicBezTo>
                        <a:pt x="155087" y="242254"/>
                        <a:pt x="163764" y="262073"/>
                        <a:pt x="176127" y="280050"/>
                      </a:cubicBezTo>
                      <a:cubicBezTo>
                        <a:pt x="191853" y="302793"/>
                        <a:pt x="206603" y="312973"/>
                        <a:pt x="214194" y="312973"/>
                      </a:cubicBezTo>
                      <a:lnTo>
                        <a:pt x="248682" y="312973"/>
                      </a:lnTo>
                      <a:cubicBezTo>
                        <a:pt x="256274" y="312973"/>
                        <a:pt x="271023" y="302793"/>
                        <a:pt x="286749" y="280050"/>
                      </a:cubicBezTo>
                      <a:cubicBezTo>
                        <a:pt x="299113" y="262073"/>
                        <a:pt x="307681" y="242254"/>
                        <a:pt x="309741" y="226984"/>
                      </a:cubicBezTo>
                      <a:lnTo>
                        <a:pt x="310067" y="224276"/>
                      </a:lnTo>
                      <a:lnTo>
                        <a:pt x="316357" y="220269"/>
                      </a:lnTo>
                      <a:cubicBezTo>
                        <a:pt x="318092" y="219078"/>
                        <a:pt x="319285" y="217020"/>
                        <a:pt x="319285" y="214854"/>
                      </a:cubicBezTo>
                      <a:lnTo>
                        <a:pt x="319285" y="204349"/>
                      </a:lnTo>
                      <a:cubicBezTo>
                        <a:pt x="319285" y="200776"/>
                        <a:pt x="316357" y="197851"/>
                        <a:pt x="312778" y="197851"/>
                      </a:cubicBezTo>
                      <a:lnTo>
                        <a:pt x="309307" y="197851"/>
                      </a:lnTo>
                      <a:cubicBezTo>
                        <a:pt x="308765" y="197093"/>
                        <a:pt x="308114" y="196335"/>
                        <a:pt x="307247" y="195794"/>
                      </a:cubicBezTo>
                      <a:cubicBezTo>
                        <a:pt x="305403" y="194603"/>
                        <a:pt x="303125" y="194386"/>
                        <a:pt x="301173" y="195252"/>
                      </a:cubicBezTo>
                      <a:cubicBezTo>
                        <a:pt x="292606" y="199151"/>
                        <a:pt x="284038" y="201100"/>
                        <a:pt x="275795" y="201100"/>
                      </a:cubicBezTo>
                      <a:cubicBezTo>
                        <a:pt x="261154" y="201100"/>
                        <a:pt x="247923" y="195036"/>
                        <a:pt x="236427" y="183231"/>
                      </a:cubicBezTo>
                      <a:cubicBezTo>
                        <a:pt x="227209" y="173701"/>
                        <a:pt x="215279" y="168936"/>
                        <a:pt x="200746" y="168936"/>
                      </a:cubicBezTo>
                      <a:close/>
                      <a:moveTo>
                        <a:pt x="417667" y="57723"/>
                      </a:moveTo>
                      <a:cubicBezTo>
                        <a:pt x="424820" y="57723"/>
                        <a:pt x="430673" y="63572"/>
                        <a:pt x="430673" y="70828"/>
                      </a:cubicBezTo>
                      <a:lnTo>
                        <a:pt x="430673" y="154334"/>
                      </a:lnTo>
                      <a:lnTo>
                        <a:pt x="481940" y="154334"/>
                      </a:lnTo>
                      <a:cubicBezTo>
                        <a:pt x="489093" y="154334"/>
                        <a:pt x="494946" y="160182"/>
                        <a:pt x="494946" y="167439"/>
                      </a:cubicBezTo>
                      <a:cubicBezTo>
                        <a:pt x="494946" y="174587"/>
                        <a:pt x="489093" y="180436"/>
                        <a:pt x="481940" y="180436"/>
                      </a:cubicBezTo>
                      <a:lnTo>
                        <a:pt x="417667" y="180436"/>
                      </a:lnTo>
                      <a:cubicBezTo>
                        <a:pt x="410405" y="180436"/>
                        <a:pt x="404552" y="174587"/>
                        <a:pt x="404552" y="167439"/>
                      </a:cubicBezTo>
                      <a:lnTo>
                        <a:pt x="404552" y="70828"/>
                      </a:lnTo>
                      <a:cubicBezTo>
                        <a:pt x="404552" y="63572"/>
                        <a:pt x="410405" y="57723"/>
                        <a:pt x="417667" y="57723"/>
                      </a:cubicBezTo>
                      <a:close/>
                      <a:moveTo>
                        <a:pt x="215170" y="47208"/>
                      </a:moveTo>
                      <a:lnTo>
                        <a:pt x="247706" y="47208"/>
                      </a:lnTo>
                      <a:cubicBezTo>
                        <a:pt x="302909" y="47208"/>
                        <a:pt x="347808" y="92044"/>
                        <a:pt x="347808" y="147276"/>
                      </a:cubicBezTo>
                      <a:lnTo>
                        <a:pt x="347808" y="178683"/>
                      </a:lnTo>
                      <a:cubicBezTo>
                        <a:pt x="351495" y="183881"/>
                        <a:pt x="353556" y="190162"/>
                        <a:pt x="353556" y="196552"/>
                      </a:cubicBezTo>
                      <a:lnTo>
                        <a:pt x="353556" y="218861"/>
                      </a:lnTo>
                      <a:cubicBezTo>
                        <a:pt x="353556" y="228067"/>
                        <a:pt x="349435" y="236731"/>
                        <a:pt x="342494" y="242579"/>
                      </a:cubicBezTo>
                      <a:cubicBezTo>
                        <a:pt x="340759" y="248102"/>
                        <a:pt x="338590" y="253842"/>
                        <a:pt x="335987" y="259473"/>
                      </a:cubicBezTo>
                      <a:cubicBezTo>
                        <a:pt x="330889" y="273011"/>
                        <a:pt x="323406" y="286981"/>
                        <a:pt x="314405" y="299977"/>
                      </a:cubicBezTo>
                      <a:cubicBezTo>
                        <a:pt x="310717" y="305392"/>
                        <a:pt x="305728" y="311998"/>
                        <a:pt x="299763" y="318605"/>
                      </a:cubicBezTo>
                      <a:cubicBezTo>
                        <a:pt x="305186" y="322395"/>
                        <a:pt x="308982" y="326944"/>
                        <a:pt x="310717" y="332142"/>
                      </a:cubicBezTo>
                      <a:lnTo>
                        <a:pt x="382079" y="353693"/>
                      </a:lnTo>
                      <a:cubicBezTo>
                        <a:pt x="432401" y="368205"/>
                        <a:pt x="462768" y="578955"/>
                        <a:pt x="462768" y="588052"/>
                      </a:cubicBezTo>
                      <a:cubicBezTo>
                        <a:pt x="462768" y="598448"/>
                        <a:pt x="454309" y="607004"/>
                        <a:pt x="443789" y="607004"/>
                      </a:cubicBezTo>
                      <a:lnTo>
                        <a:pt x="18979" y="607004"/>
                      </a:lnTo>
                      <a:cubicBezTo>
                        <a:pt x="8568" y="607004"/>
                        <a:pt x="0" y="598448"/>
                        <a:pt x="0" y="588052"/>
                      </a:cubicBezTo>
                      <a:cubicBezTo>
                        <a:pt x="0" y="587077"/>
                        <a:pt x="108" y="586102"/>
                        <a:pt x="325" y="585128"/>
                      </a:cubicBezTo>
                      <a:cubicBezTo>
                        <a:pt x="325" y="585128"/>
                        <a:pt x="30475" y="368205"/>
                        <a:pt x="80689" y="353693"/>
                      </a:cubicBezTo>
                      <a:lnTo>
                        <a:pt x="152159" y="332142"/>
                      </a:lnTo>
                      <a:cubicBezTo>
                        <a:pt x="153894" y="326944"/>
                        <a:pt x="157690" y="322395"/>
                        <a:pt x="163005" y="318605"/>
                      </a:cubicBezTo>
                      <a:cubicBezTo>
                        <a:pt x="157148" y="311998"/>
                        <a:pt x="152159" y="305392"/>
                        <a:pt x="148363" y="299977"/>
                      </a:cubicBezTo>
                      <a:cubicBezTo>
                        <a:pt x="139470" y="286981"/>
                        <a:pt x="131987" y="273011"/>
                        <a:pt x="126781" y="259582"/>
                      </a:cubicBezTo>
                      <a:cubicBezTo>
                        <a:pt x="124287" y="253842"/>
                        <a:pt x="122118" y="248102"/>
                        <a:pt x="120383" y="242471"/>
                      </a:cubicBezTo>
                      <a:cubicBezTo>
                        <a:pt x="113333" y="236731"/>
                        <a:pt x="109320" y="227959"/>
                        <a:pt x="109320" y="218861"/>
                      </a:cubicBezTo>
                      <a:lnTo>
                        <a:pt x="109320" y="196552"/>
                      </a:lnTo>
                      <a:cubicBezTo>
                        <a:pt x="109320" y="190162"/>
                        <a:pt x="111273" y="183881"/>
                        <a:pt x="115068" y="178683"/>
                      </a:cubicBezTo>
                      <a:lnTo>
                        <a:pt x="115068" y="147276"/>
                      </a:lnTo>
                      <a:cubicBezTo>
                        <a:pt x="115068" y="92044"/>
                        <a:pt x="159968" y="47208"/>
                        <a:pt x="215170" y="47208"/>
                      </a:cubicBezTo>
                      <a:close/>
                      <a:moveTo>
                        <a:pt x="415135" y="0"/>
                      </a:moveTo>
                      <a:cubicBezTo>
                        <a:pt x="505381" y="0"/>
                        <a:pt x="578707" y="73314"/>
                        <a:pt x="578707" y="163305"/>
                      </a:cubicBezTo>
                      <a:cubicBezTo>
                        <a:pt x="578707" y="253404"/>
                        <a:pt x="505381" y="326718"/>
                        <a:pt x="415135" y="326718"/>
                      </a:cubicBezTo>
                      <a:cubicBezTo>
                        <a:pt x="390078" y="326718"/>
                        <a:pt x="366215" y="320979"/>
                        <a:pt x="344955" y="310907"/>
                      </a:cubicBezTo>
                      <a:cubicBezTo>
                        <a:pt x="351029" y="300620"/>
                        <a:pt x="356236" y="290115"/>
                        <a:pt x="360357" y="279719"/>
                      </a:cubicBezTo>
                      <a:cubicBezTo>
                        <a:pt x="376953" y="287516"/>
                        <a:pt x="395502" y="291956"/>
                        <a:pt x="415135" y="291956"/>
                      </a:cubicBezTo>
                      <a:cubicBezTo>
                        <a:pt x="486182" y="291956"/>
                        <a:pt x="543888" y="234236"/>
                        <a:pt x="543888" y="163305"/>
                      </a:cubicBezTo>
                      <a:cubicBezTo>
                        <a:pt x="543888" y="92482"/>
                        <a:pt x="486182" y="34762"/>
                        <a:pt x="415135" y="34762"/>
                      </a:cubicBezTo>
                      <a:cubicBezTo>
                        <a:pt x="386716" y="34762"/>
                        <a:pt x="360466" y="43967"/>
                        <a:pt x="339097" y="59561"/>
                      </a:cubicBezTo>
                      <a:cubicBezTo>
                        <a:pt x="330962" y="50897"/>
                        <a:pt x="321742" y="43317"/>
                        <a:pt x="311546" y="37036"/>
                      </a:cubicBezTo>
                      <a:cubicBezTo>
                        <a:pt x="339748" y="13861"/>
                        <a:pt x="375869" y="0"/>
                        <a:pt x="415135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28575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354"/>
                  <a:endParaRPr lang="zh-CN" altLang="en-US" sz="2000" b="1" i="1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41" name="ïşḻide">
              <a:extLst>
                <a:ext uri="{FF2B5EF4-FFF2-40B4-BE49-F238E27FC236}">
                  <a16:creationId xmlns:a16="http://schemas.microsoft.com/office/drawing/2014/main" id="{B2518557-260D-4278-8458-66F7EBFAA8B3}"/>
                </a:ext>
              </a:extLst>
            </p:cNvPr>
            <p:cNvGrpSpPr/>
            <p:nvPr/>
          </p:nvGrpSpPr>
          <p:grpSpPr>
            <a:xfrm>
              <a:off x="1229059" y="2848529"/>
              <a:ext cx="1643795" cy="2896272"/>
              <a:chOff x="1229059" y="2848529"/>
              <a:chExt cx="1643795" cy="2896272"/>
            </a:xfrm>
          </p:grpSpPr>
          <p:grpSp>
            <p:nvGrpSpPr>
              <p:cNvPr id="54" name="ïSļidè">
                <a:extLst>
                  <a:ext uri="{FF2B5EF4-FFF2-40B4-BE49-F238E27FC236}">
                    <a16:creationId xmlns:a16="http://schemas.microsoft.com/office/drawing/2014/main" id="{AE5C1BA2-0484-4DFB-9804-D7E35DD85930}"/>
                  </a:ext>
                </a:extLst>
              </p:cNvPr>
              <p:cNvGrpSpPr/>
              <p:nvPr/>
            </p:nvGrpSpPr>
            <p:grpSpPr>
              <a:xfrm>
                <a:off x="1229059" y="4297802"/>
                <a:ext cx="1643795" cy="1446999"/>
                <a:chOff x="1878003" y="4193310"/>
                <a:chExt cx="1643795" cy="1446999"/>
              </a:xfrm>
            </p:grpSpPr>
            <p:sp>
              <p:nvSpPr>
                <p:cNvPr id="59" name="îś1idé">
                  <a:extLst>
                    <a:ext uri="{FF2B5EF4-FFF2-40B4-BE49-F238E27FC236}">
                      <a16:creationId xmlns:a16="http://schemas.microsoft.com/office/drawing/2014/main" id="{C18C7581-04FE-4D90-BFE1-D982E70945C5}"/>
                    </a:ext>
                  </a:extLst>
                </p:cNvPr>
                <p:cNvSpPr txBox="1"/>
                <p:nvPr/>
              </p:nvSpPr>
              <p:spPr>
                <a:xfrm>
                  <a:off x="1878003" y="4193310"/>
                  <a:ext cx="1643795" cy="446696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rtlCol="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30000"/>
                    </a:lnSpc>
                  </a:pPr>
                  <a:r>
                    <a:rPr lang="es-DO" altLang="zh-CN" sz="1600" b="1" dirty="0"/>
                    <a:t>Troyanos</a:t>
                  </a:r>
                  <a:endParaRPr lang="en-US" altLang="zh-CN" sz="1600" b="1" dirty="0"/>
                </a:p>
              </p:txBody>
            </p:sp>
            <p:sp>
              <p:nvSpPr>
                <p:cNvPr id="60" name="i$ḻíḑè">
                  <a:extLst>
                    <a:ext uri="{FF2B5EF4-FFF2-40B4-BE49-F238E27FC236}">
                      <a16:creationId xmlns:a16="http://schemas.microsoft.com/office/drawing/2014/main" id="{0829EB4D-33C4-480A-964C-47B1C9C92309}"/>
                    </a:ext>
                  </a:extLst>
                </p:cNvPr>
                <p:cNvSpPr/>
                <p:nvPr/>
              </p:nvSpPr>
              <p:spPr bwMode="auto">
                <a:xfrm>
                  <a:off x="1878003" y="4640008"/>
                  <a:ext cx="1643795" cy="100030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100" dirty="0"/>
                    <a:t>¿</a:t>
                  </a:r>
                  <a:r>
                    <a:rPr lang="en-US" altLang="zh-CN" sz="1100" dirty="0" err="1"/>
                    <a:t>Qué</a:t>
                  </a:r>
                  <a:r>
                    <a:rPr lang="en-US" altLang="zh-CN" sz="1100" dirty="0"/>
                    <a:t> </a:t>
                  </a:r>
                  <a:r>
                    <a:rPr lang="en-US" altLang="zh-CN" sz="1100" dirty="0" err="1"/>
                    <a:t>clase</a:t>
                  </a:r>
                  <a:r>
                    <a:rPr lang="en-US" altLang="zh-CN" sz="1100" dirty="0"/>
                    <a:t> de virus es?</a:t>
                  </a:r>
                </a:p>
              </p:txBody>
            </p:sp>
          </p:grpSp>
          <p:sp>
            <p:nvSpPr>
              <p:cNvPr id="55" name="išḷîḋê">
                <a:extLst>
                  <a:ext uri="{FF2B5EF4-FFF2-40B4-BE49-F238E27FC236}">
                    <a16:creationId xmlns:a16="http://schemas.microsoft.com/office/drawing/2014/main" id="{9495E815-DA66-4FDD-91C6-8AB28B5FD096}"/>
                  </a:ext>
                </a:extLst>
              </p:cNvPr>
              <p:cNvSpPr txBox="1"/>
              <p:nvPr/>
            </p:nvSpPr>
            <p:spPr>
              <a:xfrm>
                <a:off x="1772266" y="2848529"/>
                <a:ext cx="557380" cy="54886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2000"/>
                  <a:t>0</a:t>
                </a:r>
                <a:r>
                  <a:rPr lang="en-US" altLang="zh-CN" sz="100"/>
                  <a:t> </a:t>
                </a:r>
                <a:r>
                  <a:rPr lang="en-US" altLang="zh-CN" sz="2000"/>
                  <a:t>1</a:t>
                </a:r>
                <a:endParaRPr lang="id-ID" sz="2000" dirty="0"/>
              </a:p>
            </p:txBody>
          </p:sp>
          <p:grpSp>
            <p:nvGrpSpPr>
              <p:cNvPr id="56" name="iṣ1iḓè">
                <a:extLst>
                  <a:ext uri="{FF2B5EF4-FFF2-40B4-BE49-F238E27FC236}">
                    <a16:creationId xmlns:a16="http://schemas.microsoft.com/office/drawing/2014/main" id="{A0A222BD-E5A0-4156-8852-172E841D1DA2}"/>
                  </a:ext>
                </a:extLst>
              </p:cNvPr>
              <p:cNvGrpSpPr/>
              <p:nvPr/>
            </p:nvGrpSpPr>
            <p:grpSpPr>
              <a:xfrm>
                <a:off x="1717945" y="3397395"/>
                <a:ext cx="666022" cy="666022"/>
                <a:chOff x="1717945" y="3397395"/>
                <a:chExt cx="666022" cy="666022"/>
              </a:xfrm>
            </p:grpSpPr>
            <p:sp>
              <p:nvSpPr>
                <p:cNvPr id="57" name="íşḻíḑé">
                  <a:extLst>
                    <a:ext uri="{FF2B5EF4-FFF2-40B4-BE49-F238E27FC236}">
                      <a16:creationId xmlns:a16="http://schemas.microsoft.com/office/drawing/2014/main" id="{08FD8861-0D87-46AC-8DB4-6FB4050C75BD}"/>
                    </a:ext>
                  </a:extLst>
                </p:cNvPr>
                <p:cNvSpPr/>
                <p:nvPr/>
              </p:nvSpPr>
              <p:spPr>
                <a:xfrm>
                  <a:off x="1717945" y="3397395"/>
                  <a:ext cx="666022" cy="666022"/>
                </a:xfrm>
                <a:prstGeom prst="roundRect">
                  <a:avLst/>
                </a:prstGeom>
                <a:noFill/>
                <a:ln w="3175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 defTabSz="914354"/>
                  <a:endParaRPr lang="zh-CN" altLang="en-US" sz="2000" b="1" i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8" name="íṩlîḍé">
                  <a:extLst>
                    <a:ext uri="{FF2B5EF4-FFF2-40B4-BE49-F238E27FC236}">
                      <a16:creationId xmlns:a16="http://schemas.microsoft.com/office/drawing/2014/main" id="{A4AC3D1D-C418-4594-BAE6-FDB03F2CA61E}"/>
                    </a:ext>
                  </a:extLst>
                </p:cNvPr>
                <p:cNvSpPr/>
                <p:nvPr/>
              </p:nvSpPr>
              <p:spPr>
                <a:xfrm>
                  <a:off x="1901862" y="3560357"/>
                  <a:ext cx="298189" cy="340098"/>
                </a:xfrm>
                <a:custGeom>
                  <a:avLst/>
                  <a:gdLst>
                    <a:gd name="connsiteX0" fmla="*/ 358559 w 530968"/>
                    <a:gd name="connsiteY0" fmla="*/ 360518 h 605592"/>
                    <a:gd name="connsiteX1" fmla="*/ 462357 w 530968"/>
                    <a:gd name="connsiteY1" fmla="*/ 410571 h 605592"/>
                    <a:gd name="connsiteX2" fmla="*/ 530968 w 530968"/>
                    <a:gd name="connsiteY2" fmla="*/ 605592 h 605592"/>
                    <a:gd name="connsiteX3" fmla="*/ 0 w 530968"/>
                    <a:gd name="connsiteY3" fmla="*/ 605592 h 605592"/>
                    <a:gd name="connsiteX4" fmla="*/ 68518 w 530968"/>
                    <a:gd name="connsiteY4" fmla="*/ 410756 h 605592"/>
                    <a:gd name="connsiteX5" fmla="*/ 172316 w 530968"/>
                    <a:gd name="connsiteY5" fmla="*/ 360703 h 605592"/>
                    <a:gd name="connsiteX6" fmla="*/ 222358 w 530968"/>
                    <a:gd name="connsiteY6" fmla="*/ 518648 h 605592"/>
                    <a:gd name="connsiteX7" fmla="*/ 229136 w 530968"/>
                    <a:gd name="connsiteY7" fmla="*/ 539967 h 605592"/>
                    <a:gd name="connsiteX8" fmla="*/ 251790 w 530968"/>
                    <a:gd name="connsiteY8" fmla="*/ 476474 h 605592"/>
                    <a:gd name="connsiteX9" fmla="*/ 265345 w 530968"/>
                    <a:gd name="connsiteY9" fmla="*/ 401209 h 605592"/>
                    <a:gd name="connsiteX10" fmla="*/ 265438 w 530968"/>
                    <a:gd name="connsiteY10" fmla="*/ 401209 h 605592"/>
                    <a:gd name="connsiteX11" fmla="*/ 265530 w 530968"/>
                    <a:gd name="connsiteY11" fmla="*/ 401209 h 605592"/>
                    <a:gd name="connsiteX12" fmla="*/ 265716 w 530968"/>
                    <a:gd name="connsiteY12" fmla="*/ 401209 h 605592"/>
                    <a:gd name="connsiteX13" fmla="*/ 265809 w 530968"/>
                    <a:gd name="connsiteY13" fmla="*/ 401209 h 605592"/>
                    <a:gd name="connsiteX14" fmla="*/ 279271 w 530968"/>
                    <a:gd name="connsiteY14" fmla="*/ 476474 h 605592"/>
                    <a:gd name="connsiteX15" fmla="*/ 301739 w 530968"/>
                    <a:gd name="connsiteY15" fmla="*/ 539874 h 605592"/>
                    <a:gd name="connsiteX16" fmla="*/ 308517 w 530968"/>
                    <a:gd name="connsiteY16" fmla="*/ 518463 h 605592"/>
                    <a:gd name="connsiteX17" fmla="*/ 327742 w 530968"/>
                    <a:gd name="connsiteY17" fmla="*/ 231466 h 605592"/>
                    <a:gd name="connsiteX18" fmla="*/ 305833 w 530968"/>
                    <a:gd name="connsiteY18" fmla="*/ 275591 h 605592"/>
                    <a:gd name="connsiteX19" fmla="*/ 354572 w 530968"/>
                    <a:gd name="connsiteY19" fmla="*/ 231466 h 605592"/>
                    <a:gd name="connsiteX20" fmla="*/ 275754 w 530968"/>
                    <a:gd name="connsiteY20" fmla="*/ 231374 h 605592"/>
                    <a:gd name="connsiteX21" fmla="*/ 275754 w 530968"/>
                    <a:gd name="connsiteY21" fmla="*/ 279577 h 605592"/>
                    <a:gd name="connsiteX22" fmla="*/ 306204 w 530968"/>
                    <a:gd name="connsiteY22" fmla="*/ 231374 h 605592"/>
                    <a:gd name="connsiteX23" fmla="*/ 224880 w 530968"/>
                    <a:gd name="connsiteY23" fmla="*/ 231374 h 605592"/>
                    <a:gd name="connsiteX24" fmla="*/ 255144 w 530968"/>
                    <a:gd name="connsiteY24" fmla="*/ 279484 h 605592"/>
                    <a:gd name="connsiteX25" fmla="*/ 255144 w 530968"/>
                    <a:gd name="connsiteY25" fmla="*/ 231374 h 605592"/>
                    <a:gd name="connsiteX26" fmla="*/ 176233 w 530968"/>
                    <a:gd name="connsiteY26" fmla="*/ 231374 h 605592"/>
                    <a:gd name="connsiteX27" fmla="*/ 224972 w 530968"/>
                    <a:gd name="connsiteY27" fmla="*/ 275498 h 605592"/>
                    <a:gd name="connsiteX28" fmla="*/ 203063 w 530968"/>
                    <a:gd name="connsiteY28" fmla="*/ 231374 h 605592"/>
                    <a:gd name="connsiteX29" fmla="*/ 332569 w 530968"/>
                    <a:gd name="connsiteY29" fmla="*/ 153137 h 605592"/>
                    <a:gd name="connsiteX30" fmla="*/ 334890 w 530968"/>
                    <a:gd name="connsiteY30" fmla="*/ 182059 h 605592"/>
                    <a:gd name="connsiteX31" fmla="*/ 332569 w 530968"/>
                    <a:gd name="connsiteY31" fmla="*/ 210980 h 605592"/>
                    <a:gd name="connsiteX32" fmla="*/ 363205 w 530968"/>
                    <a:gd name="connsiteY32" fmla="*/ 210980 h 605592"/>
                    <a:gd name="connsiteX33" fmla="*/ 367476 w 530968"/>
                    <a:gd name="connsiteY33" fmla="*/ 182059 h 605592"/>
                    <a:gd name="connsiteX34" fmla="*/ 363205 w 530968"/>
                    <a:gd name="connsiteY34" fmla="*/ 153137 h 605592"/>
                    <a:gd name="connsiteX35" fmla="*/ 275754 w 530968"/>
                    <a:gd name="connsiteY35" fmla="*/ 153137 h 605592"/>
                    <a:gd name="connsiteX36" fmla="*/ 275754 w 530968"/>
                    <a:gd name="connsiteY36" fmla="*/ 210980 h 605592"/>
                    <a:gd name="connsiteX37" fmla="*/ 311774 w 530968"/>
                    <a:gd name="connsiteY37" fmla="*/ 210980 h 605592"/>
                    <a:gd name="connsiteX38" fmla="*/ 314466 w 530968"/>
                    <a:gd name="connsiteY38" fmla="*/ 182059 h 605592"/>
                    <a:gd name="connsiteX39" fmla="*/ 311774 w 530968"/>
                    <a:gd name="connsiteY39" fmla="*/ 153137 h 605592"/>
                    <a:gd name="connsiteX40" fmla="*/ 219124 w 530968"/>
                    <a:gd name="connsiteY40" fmla="*/ 153137 h 605592"/>
                    <a:gd name="connsiteX41" fmla="*/ 216431 w 530968"/>
                    <a:gd name="connsiteY41" fmla="*/ 182059 h 605592"/>
                    <a:gd name="connsiteX42" fmla="*/ 219124 w 530968"/>
                    <a:gd name="connsiteY42" fmla="*/ 210980 h 605592"/>
                    <a:gd name="connsiteX43" fmla="*/ 255144 w 530968"/>
                    <a:gd name="connsiteY43" fmla="*/ 210980 h 605592"/>
                    <a:gd name="connsiteX44" fmla="*/ 255144 w 530968"/>
                    <a:gd name="connsiteY44" fmla="*/ 153137 h 605592"/>
                    <a:gd name="connsiteX45" fmla="*/ 167693 w 530968"/>
                    <a:gd name="connsiteY45" fmla="*/ 153137 h 605592"/>
                    <a:gd name="connsiteX46" fmla="*/ 163422 w 530968"/>
                    <a:gd name="connsiteY46" fmla="*/ 182059 h 605592"/>
                    <a:gd name="connsiteX47" fmla="*/ 167693 w 530968"/>
                    <a:gd name="connsiteY47" fmla="*/ 210980 h 605592"/>
                    <a:gd name="connsiteX48" fmla="*/ 198328 w 530968"/>
                    <a:gd name="connsiteY48" fmla="*/ 210980 h 605592"/>
                    <a:gd name="connsiteX49" fmla="*/ 196008 w 530968"/>
                    <a:gd name="connsiteY49" fmla="*/ 182059 h 605592"/>
                    <a:gd name="connsiteX50" fmla="*/ 198328 w 530968"/>
                    <a:gd name="connsiteY50" fmla="*/ 153137 h 605592"/>
                    <a:gd name="connsiteX51" fmla="*/ 305925 w 530968"/>
                    <a:gd name="connsiteY51" fmla="*/ 88619 h 605592"/>
                    <a:gd name="connsiteX52" fmla="*/ 327835 w 530968"/>
                    <a:gd name="connsiteY52" fmla="*/ 132743 h 605592"/>
                    <a:gd name="connsiteX53" fmla="*/ 354664 w 530968"/>
                    <a:gd name="connsiteY53" fmla="*/ 132743 h 605592"/>
                    <a:gd name="connsiteX54" fmla="*/ 305925 w 530968"/>
                    <a:gd name="connsiteY54" fmla="*/ 88619 h 605592"/>
                    <a:gd name="connsiteX55" fmla="*/ 225065 w 530968"/>
                    <a:gd name="connsiteY55" fmla="*/ 88619 h 605592"/>
                    <a:gd name="connsiteX56" fmla="*/ 176326 w 530968"/>
                    <a:gd name="connsiteY56" fmla="*/ 132743 h 605592"/>
                    <a:gd name="connsiteX57" fmla="*/ 203156 w 530968"/>
                    <a:gd name="connsiteY57" fmla="*/ 132743 h 605592"/>
                    <a:gd name="connsiteX58" fmla="*/ 225065 w 530968"/>
                    <a:gd name="connsiteY58" fmla="*/ 88619 h 605592"/>
                    <a:gd name="connsiteX59" fmla="*/ 275754 w 530968"/>
                    <a:gd name="connsiteY59" fmla="*/ 84633 h 605592"/>
                    <a:gd name="connsiteX60" fmla="*/ 275754 w 530968"/>
                    <a:gd name="connsiteY60" fmla="*/ 132743 h 605592"/>
                    <a:gd name="connsiteX61" fmla="*/ 306018 w 530968"/>
                    <a:gd name="connsiteY61" fmla="*/ 132743 h 605592"/>
                    <a:gd name="connsiteX62" fmla="*/ 275754 w 530968"/>
                    <a:gd name="connsiteY62" fmla="*/ 84633 h 605592"/>
                    <a:gd name="connsiteX63" fmla="*/ 255144 w 530968"/>
                    <a:gd name="connsiteY63" fmla="*/ 84540 h 605592"/>
                    <a:gd name="connsiteX64" fmla="*/ 224694 w 530968"/>
                    <a:gd name="connsiteY64" fmla="*/ 132743 h 605592"/>
                    <a:gd name="connsiteX65" fmla="*/ 255144 w 530968"/>
                    <a:gd name="connsiteY65" fmla="*/ 132743 h 605592"/>
                    <a:gd name="connsiteX66" fmla="*/ 249017 w 530968"/>
                    <a:gd name="connsiteY66" fmla="*/ 0 h 605592"/>
                    <a:gd name="connsiteX67" fmla="*/ 281788 w 530968"/>
                    <a:gd name="connsiteY67" fmla="*/ 0 h 605592"/>
                    <a:gd name="connsiteX68" fmla="*/ 293764 w 530968"/>
                    <a:gd name="connsiteY68" fmla="*/ 11958 h 605592"/>
                    <a:gd name="connsiteX69" fmla="*/ 293764 w 530968"/>
                    <a:gd name="connsiteY69" fmla="*/ 39211 h 605592"/>
                    <a:gd name="connsiteX70" fmla="*/ 346495 w 530968"/>
                    <a:gd name="connsiteY70" fmla="*/ 60902 h 605592"/>
                    <a:gd name="connsiteX71" fmla="*/ 365805 w 530968"/>
                    <a:gd name="connsiteY71" fmla="*/ 41621 h 605592"/>
                    <a:gd name="connsiteX72" fmla="*/ 382887 w 530968"/>
                    <a:gd name="connsiteY72" fmla="*/ 41621 h 605592"/>
                    <a:gd name="connsiteX73" fmla="*/ 406096 w 530968"/>
                    <a:gd name="connsiteY73" fmla="*/ 64796 h 605592"/>
                    <a:gd name="connsiteX74" fmla="*/ 406096 w 530968"/>
                    <a:gd name="connsiteY74" fmla="*/ 81852 h 605592"/>
                    <a:gd name="connsiteX75" fmla="*/ 386786 w 530968"/>
                    <a:gd name="connsiteY75" fmla="*/ 101133 h 605592"/>
                    <a:gd name="connsiteX76" fmla="*/ 408509 w 530968"/>
                    <a:gd name="connsiteY76" fmla="*/ 153786 h 605592"/>
                    <a:gd name="connsiteX77" fmla="*/ 435803 w 530968"/>
                    <a:gd name="connsiteY77" fmla="*/ 153786 h 605592"/>
                    <a:gd name="connsiteX78" fmla="*/ 447779 w 530968"/>
                    <a:gd name="connsiteY78" fmla="*/ 165744 h 605592"/>
                    <a:gd name="connsiteX79" fmla="*/ 447779 w 530968"/>
                    <a:gd name="connsiteY79" fmla="*/ 198466 h 605592"/>
                    <a:gd name="connsiteX80" fmla="*/ 435803 w 530968"/>
                    <a:gd name="connsiteY80" fmla="*/ 210517 h 605592"/>
                    <a:gd name="connsiteX81" fmla="*/ 408509 w 530968"/>
                    <a:gd name="connsiteY81" fmla="*/ 210517 h 605592"/>
                    <a:gd name="connsiteX82" fmla="*/ 386786 w 530968"/>
                    <a:gd name="connsiteY82" fmla="*/ 263169 h 605592"/>
                    <a:gd name="connsiteX83" fmla="*/ 406096 w 530968"/>
                    <a:gd name="connsiteY83" fmla="*/ 282265 h 605592"/>
                    <a:gd name="connsiteX84" fmla="*/ 406096 w 530968"/>
                    <a:gd name="connsiteY84" fmla="*/ 299321 h 605592"/>
                    <a:gd name="connsiteX85" fmla="*/ 382887 w 530968"/>
                    <a:gd name="connsiteY85" fmla="*/ 322496 h 605592"/>
                    <a:gd name="connsiteX86" fmla="*/ 365805 w 530968"/>
                    <a:gd name="connsiteY86" fmla="*/ 322496 h 605592"/>
                    <a:gd name="connsiteX87" fmla="*/ 346495 w 530968"/>
                    <a:gd name="connsiteY87" fmla="*/ 303215 h 605592"/>
                    <a:gd name="connsiteX88" fmla="*/ 293764 w 530968"/>
                    <a:gd name="connsiteY88" fmla="*/ 324906 h 605592"/>
                    <a:gd name="connsiteX89" fmla="*/ 293764 w 530968"/>
                    <a:gd name="connsiteY89" fmla="*/ 352159 h 605592"/>
                    <a:gd name="connsiteX90" fmla="*/ 281788 w 530968"/>
                    <a:gd name="connsiteY90" fmla="*/ 364117 h 605592"/>
                    <a:gd name="connsiteX91" fmla="*/ 249017 w 530968"/>
                    <a:gd name="connsiteY91" fmla="*/ 364117 h 605592"/>
                    <a:gd name="connsiteX92" fmla="*/ 236948 w 530968"/>
                    <a:gd name="connsiteY92" fmla="*/ 352159 h 605592"/>
                    <a:gd name="connsiteX93" fmla="*/ 236948 w 530968"/>
                    <a:gd name="connsiteY93" fmla="*/ 324906 h 605592"/>
                    <a:gd name="connsiteX94" fmla="*/ 184217 w 530968"/>
                    <a:gd name="connsiteY94" fmla="*/ 303215 h 605592"/>
                    <a:gd name="connsiteX95" fmla="*/ 164907 w 530968"/>
                    <a:gd name="connsiteY95" fmla="*/ 322496 h 605592"/>
                    <a:gd name="connsiteX96" fmla="*/ 147826 w 530968"/>
                    <a:gd name="connsiteY96" fmla="*/ 322496 h 605592"/>
                    <a:gd name="connsiteX97" fmla="*/ 124709 w 530968"/>
                    <a:gd name="connsiteY97" fmla="*/ 299321 h 605592"/>
                    <a:gd name="connsiteX98" fmla="*/ 124709 w 530968"/>
                    <a:gd name="connsiteY98" fmla="*/ 282265 h 605592"/>
                    <a:gd name="connsiteX99" fmla="*/ 144019 w 530968"/>
                    <a:gd name="connsiteY99" fmla="*/ 262984 h 605592"/>
                    <a:gd name="connsiteX100" fmla="*/ 122203 w 530968"/>
                    <a:gd name="connsiteY100" fmla="*/ 210331 h 605592"/>
                    <a:gd name="connsiteX101" fmla="*/ 95002 w 530968"/>
                    <a:gd name="connsiteY101" fmla="*/ 210331 h 605592"/>
                    <a:gd name="connsiteX102" fmla="*/ 83026 w 530968"/>
                    <a:gd name="connsiteY102" fmla="*/ 198373 h 605592"/>
                    <a:gd name="connsiteX103" fmla="*/ 83026 w 530968"/>
                    <a:gd name="connsiteY103" fmla="*/ 165651 h 605592"/>
                    <a:gd name="connsiteX104" fmla="*/ 95002 w 530968"/>
                    <a:gd name="connsiteY104" fmla="*/ 153600 h 605592"/>
                    <a:gd name="connsiteX105" fmla="*/ 95002 w 530968"/>
                    <a:gd name="connsiteY105" fmla="*/ 153786 h 605592"/>
                    <a:gd name="connsiteX106" fmla="*/ 122389 w 530968"/>
                    <a:gd name="connsiteY106" fmla="*/ 153786 h 605592"/>
                    <a:gd name="connsiteX107" fmla="*/ 144112 w 530968"/>
                    <a:gd name="connsiteY107" fmla="*/ 101133 h 605592"/>
                    <a:gd name="connsiteX108" fmla="*/ 124709 w 530968"/>
                    <a:gd name="connsiteY108" fmla="*/ 81852 h 605592"/>
                    <a:gd name="connsiteX109" fmla="*/ 124709 w 530968"/>
                    <a:gd name="connsiteY109" fmla="*/ 64796 h 605592"/>
                    <a:gd name="connsiteX110" fmla="*/ 147826 w 530968"/>
                    <a:gd name="connsiteY110" fmla="*/ 41621 h 605592"/>
                    <a:gd name="connsiteX111" fmla="*/ 164907 w 530968"/>
                    <a:gd name="connsiteY111" fmla="*/ 41621 h 605592"/>
                    <a:gd name="connsiteX112" fmla="*/ 184217 w 530968"/>
                    <a:gd name="connsiteY112" fmla="*/ 60902 h 605592"/>
                    <a:gd name="connsiteX113" fmla="*/ 236948 w 530968"/>
                    <a:gd name="connsiteY113" fmla="*/ 39211 h 605592"/>
                    <a:gd name="connsiteX114" fmla="*/ 236948 w 530968"/>
                    <a:gd name="connsiteY114" fmla="*/ 11958 h 605592"/>
                    <a:gd name="connsiteX115" fmla="*/ 249017 w 530968"/>
                    <a:gd name="connsiteY115" fmla="*/ 0 h 6055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</a:cxnLst>
                  <a:rect l="l" t="t" r="r" b="b"/>
                  <a:pathLst>
                    <a:path w="530968" h="605592">
                      <a:moveTo>
                        <a:pt x="358559" y="360518"/>
                      </a:moveTo>
                      <a:cubicBezTo>
                        <a:pt x="358559" y="360518"/>
                        <a:pt x="397367" y="385915"/>
                        <a:pt x="462357" y="410571"/>
                      </a:cubicBezTo>
                      <a:cubicBezTo>
                        <a:pt x="533939" y="436524"/>
                        <a:pt x="529483" y="495383"/>
                        <a:pt x="530968" y="605592"/>
                      </a:cubicBezTo>
                      <a:lnTo>
                        <a:pt x="0" y="605592"/>
                      </a:lnTo>
                      <a:cubicBezTo>
                        <a:pt x="1392" y="495383"/>
                        <a:pt x="-3064" y="436710"/>
                        <a:pt x="68518" y="410756"/>
                      </a:cubicBezTo>
                      <a:cubicBezTo>
                        <a:pt x="133508" y="386008"/>
                        <a:pt x="172316" y="360703"/>
                        <a:pt x="172316" y="360703"/>
                      </a:cubicBezTo>
                      <a:lnTo>
                        <a:pt x="222358" y="518648"/>
                      </a:lnTo>
                      <a:lnTo>
                        <a:pt x="229136" y="539967"/>
                      </a:lnTo>
                      <a:lnTo>
                        <a:pt x="251790" y="476474"/>
                      </a:lnTo>
                      <a:cubicBezTo>
                        <a:pt x="200355" y="404639"/>
                        <a:pt x="255689" y="401302"/>
                        <a:pt x="265345" y="401209"/>
                      </a:cubicBezTo>
                      <a:lnTo>
                        <a:pt x="265438" y="401209"/>
                      </a:lnTo>
                      <a:lnTo>
                        <a:pt x="265530" y="401209"/>
                      </a:lnTo>
                      <a:lnTo>
                        <a:pt x="265716" y="401209"/>
                      </a:lnTo>
                      <a:lnTo>
                        <a:pt x="265809" y="401209"/>
                      </a:lnTo>
                      <a:cubicBezTo>
                        <a:pt x="275372" y="401302"/>
                        <a:pt x="330799" y="404824"/>
                        <a:pt x="279271" y="476474"/>
                      </a:cubicBezTo>
                      <a:lnTo>
                        <a:pt x="301739" y="539874"/>
                      </a:lnTo>
                      <a:lnTo>
                        <a:pt x="308517" y="518463"/>
                      </a:lnTo>
                      <a:close/>
                      <a:moveTo>
                        <a:pt x="327742" y="231466"/>
                      </a:moveTo>
                      <a:cubicBezTo>
                        <a:pt x="322172" y="249450"/>
                        <a:pt x="314095" y="264003"/>
                        <a:pt x="305833" y="275591"/>
                      </a:cubicBezTo>
                      <a:cubicBezTo>
                        <a:pt x="326628" y="266599"/>
                        <a:pt x="343710" y="251026"/>
                        <a:pt x="354572" y="231466"/>
                      </a:cubicBezTo>
                      <a:close/>
                      <a:moveTo>
                        <a:pt x="275754" y="231374"/>
                      </a:moveTo>
                      <a:lnTo>
                        <a:pt x="275754" y="279577"/>
                      </a:lnTo>
                      <a:cubicBezTo>
                        <a:pt x="285594" y="269658"/>
                        <a:pt x="298127" y="253899"/>
                        <a:pt x="306204" y="231374"/>
                      </a:cubicBezTo>
                      <a:close/>
                      <a:moveTo>
                        <a:pt x="224880" y="231374"/>
                      </a:moveTo>
                      <a:cubicBezTo>
                        <a:pt x="232863" y="253621"/>
                        <a:pt x="245303" y="269473"/>
                        <a:pt x="255144" y="279484"/>
                      </a:cubicBezTo>
                      <a:lnTo>
                        <a:pt x="255144" y="231374"/>
                      </a:lnTo>
                      <a:close/>
                      <a:moveTo>
                        <a:pt x="176233" y="231374"/>
                      </a:moveTo>
                      <a:cubicBezTo>
                        <a:pt x="187188" y="251026"/>
                        <a:pt x="204270" y="266599"/>
                        <a:pt x="224972" y="275498"/>
                      </a:cubicBezTo>
                      <a:cubicBezTo>
                        <a:pt x="216710" y="264003"/>
                        <a:pt x="208633" y="249264"/>
                        <a:pt x="203063" y="231374"/>
                      </a:cubicBezTo>
                      <a:close/>
                      <a:moveTo>
                        <a:pt x="332569" y="153137"/>
                      </a:moveTo>
                      <a:cubicBezTo>
                        <a:pt x="334055" y="162128"/>
                        <a:pt x="334890" y="171769"/>
                        <a:pt x="334890" y="182059"/>
                      </a:cubicBezTo>
                      <a:cubicBezTo>
                        <a:pt x="334890" y="192441"/>
                        <a:pt x="334055" y="201989"/>
                        <a:pt x="332569" y="210980"/>
                      </a:cubicBezTo>
                      <a:lnTo>
                        <a:pt x="363205" y="210980"/>
                      </a:lnTo>
                      <a:cubicBezTo>
                        <a:pt x="365990" y="201803"/>
                        <a:pt x="367476" y="192070"/>
                        <a:pt x="367476" y="182059"/>
                      </a:cubicBezTo>
                      <a:cubicBezTo>
                        <a:pt x="367476" y="172047"/>
                        <a:pt x="365990" y="162407"/>
                        <a:pt x="363205" y="153137"/>
                      </a:cubicBezTo>
                      <a:close/>
                      <a:moveTo>
                        <a:pt x="275754" y="153137"/>
                      </a:moveTo>
                      <a:lnTo>
                        <a:pt x="275754" y="210980"/>
                      </a:lnTo>
                      <a:lnTo>
                        <a:pt x="311774" y="210980"/>
                      </a:lnTo>
                      <a:cubicBezTo>
                        <a:pt x="313445" y="202081"/>
                        <a:pt x="314466" y="192441"/>
                        <a:pt x="314466" y="182059"/>
                      </a:cubicBezTo>
                      <a:cubicBezTo>
                        <a:pt x="314466" y="171584"/>
                        <a:pt x="313445" y="162036"/>
                        <a:pt x="311774" y="153137"/>
                      </a:cubicBezTo>
                      <a:close/>
                      <a:moveTo>
                        <a:pt x="219124" y="153137"/>
                      </a:moveTo>
                      <a:cubicBezTo>
                        <a:pt x="217453" y="162036"/>
                        <a:pt x="216431" y="171676"/>
                        <a:pt x="216431" y="182059"/>
                      </a:cubicBezTo>
                      <a:cubicBezTo>
                        <a:pt x="216431" y="192533"/>
                        <a:pt x="217453" y="202081"/>
                        <a:pt x="219124" y="210980"/>
                      </a:cubicBezTo>
                      <a:lnTo>
                        <a:pt x="255144" y="210980"/>
                      </a:lnTo>
                      <a:lnTo>
                        <a:pt x="255144" y="153137"/>
                      </a:lnTo>
                      <a:close/>
                      <a:moveTo>
                        <a:pt x="167693" y="153137"/>
                      </a:moveTo>
                      <a:cubicBezTo>
                        <a:pt x="164907" y="162407"/>
                        <a:pt x="163422" y="172047"/>
                        <a:pt x="163422" y="182059"/>
                      </a:cubicBezTo>
                      <a:cubicBezTo>
                        <a:pt x="163422" y="192070"/>
                        <a:pt x="164907" y="201803"/>
                        <a:pt x="167693" y="210980"/>
                      </a:cubicBezTo>
                      <a:lnTo>
                        <a:pt x="198328" y="210980"/>
                      </a:lnTo>
                      <a:cubicBezTo>
                        <a:pt x="196843" y="201989"/>
                        <a:pt x="196008" y="192348"/>
                        <a:pt x="196008" y="182059"/>
                      </a:cubicBezTo>
                      <a:cubicBezTo>
                        <a:pt x="196008" y="171676"/>
                        <a:pt x="196843" y="162128"/>
                        <a:pt x="198328" y="153137"/>
                      </a:cubicBezTo>
                      <a:close/>
                      <a:moveTo>
                        <a:pt x="305925" y="88619"/>
                      </a:moveTo>
                      <a:cubicBezTo>
                        <a:pt x="314188" y="100114"/>
                        <a:pt x="322265" y="114853"/>
                        <a:pt x="327835" y="132743"/>
                      </a:cubicBezTo>
                      <a:lnTo>
                        <a:pt x="354664" y="132743"/>
                      </a:lnTo>
                      <a:cubicBezTo>
                        <a:pt x="343710" y="113091"/>
                        <a:pt x="326628" y="97518"/>
                        <a:pt x="305925" y="88619"/>
                      </a:cubicBezTo>
                      <a:close/>
                      <a:moveTo>
                        <a:pt x="225065" y="88619"/>
                      </a:moveTo>
                      <a:cubicBezTo>
                        <a:pt x="204270" y="97518"/>
                        <a:pt x="187188" y="113091"/>
                        <a:pt x="176326" y="132743"/>
                      </a:cubicBezTo>
                      <a:lnTo>
                        <a:pt x="203156" y="132743"/>
                      </a:lnTo>
                      <a:cubicBezTo>
                        <a:pt x="208726" y="114853"/>
                        <a:pt x="216803" y="100206"/>
                        <a:pt x="225065" y="88619"/>
                      </a:cubicBezTo>
                      <a:close/>
                      <a:moveTo>
                        <a:pt x="275754" y="84633"/>
                      </a:moveTo>
                      <a:lnTo>
                        <a:pt x="275754" y="132743"/>
                      </a:lnTo>
                      <a:lnTo>
                        <a:pt x="306018" y="132743"/>
                      </a:lnTo>
                      <a:cubicBezTo>
                        <a:pt x="298034" y="110496"/>
                        <a:pt x="285594" y="94644"/>
                        <a:pt x="275754" y="84633"/>
                      </a:cubicBezTo>
                      <a:close/>
                      <a:moveTo>
                        <a:pt x="255144" y="84540"/>
                      </a:moveTo>
                      <a:cubicBezTo>
                        <a:pt x="245303" y="94459"/>
                        <a:pt x="232771" y="110218"/>
                        <a:pt x="224694" y="132743"/>
                      </a:cubicBezTo>
                      <a:lnTo>
                        <a:pt x="255144" y="132743"/>
                      </a:lnTo>
                      <a:close/>
                      <a:moveTo>
                        <a:pt x="249017" y="0"/>
                      </a:moveTo>
                      <a:lnTo>
                        <a:pt x="281788" y="0"/>
                      </a:lnTo>
                      <a:cubicBezTo>
                        <a:pt x="288379" y="0"/>
                        <a:pt x="293764" y="5284"/>
                        <a:pt x="293764" y="11958"/>
                      </a:cubicBezTo>
                      <a:lnTo>
                        <a:pt x="293764" y="39211"/>
                      </a:lnTo>
                      <a:cubicBezTo>
                        <a:pt x="312981" y="42919"/>
                        <a:pt x="330806" y="50428"/>
                        <a:pt x="346495" y="60902"/>
                      </a:cubicBezTo>
                      <a:lnTo>
                        <a:pt x="365805" y="41621"/>
                      </a:lnTo>
                      <a:cubicBezTo>
                        <a:pt x="370539" y="36986"/>
                        <a:pt x="378245" y="36986"/>
                        <a:pt x="382887" y="41621"/>
                      </a:cubicBezTo>
                      <a:lnTo>
                        <a:pt x="406096" y="64796"/>
                      </a:lnTo>
                      <a:cubicBezTo>
                        <a:pt x="410737" y="69431"/>
                        <a:pt x="410737" y="77125"/>
                        <a:pt x="406096" y="81852"/>
                      </a:cubicBezTo>
                      <a:lnTo>
                        <a:pt x="386786" y="101133"/>
                      </a:lnTo>
                      <a:cubicBezTo>
                        <a:pt x="397276" y="116799"/>
                        <a:pt x="404703" y="134597"/>
                        <a:pt x="408509" y="153786"/>
                      </a:cubicBezTo>
                      <a:lnTo>
                        <a:pt x="435803" y="153786"/>
                      </a:lnTo>
                      <a:cubicBezTo>
                        <a:pt x="442302" y="153786"/>
                        <a:pt x="447779" y="159069"/>
                        <a:pt x="447779" y="165744"/>
                      </a:cubicBezTo>
                      <a:lnTo>
                        <a:pt x="447779" y="198466"/>
                      </a:lnTo>
                      <a:cubicBezTo>
                        <a:pt x="447779" y="205048"/>
                        <a:pt x="442487" y="210517"/>
                        <a:pt x="435803" y="210517"/>
                      </a:cubicBezTo>
                      <a:lnTo>
                        <a:pt x="408509" y="210517"/>
                      </a:lnTo>
                      <a:cubicBezTo>
                        <a:pt x="404796" y="229612"/>
                        <a:pt x="397276" y="247410"/>
                        <a:pt x="386786" y="263169"/>
                      </a:cubicBezTo>
                      <a:lnTo>
                        <a:pt x="406096" y="282265"/>
                      </a:lnTo>
                      <a:cubicBezTo>
                        <a:pt x="410737" y="286992"/>
                        <a:pt x="410737" y="294686"/>
                        <a:pt x="406096" y="299321"/>
                      </a:cubicBezTo>
                      <a:lnTo>
                        <a:pt x="382887" y="322496"/>
                      </a:lnTo>
                      <a:cubicBezTo>
                        <a:pt x="378245" y="327131"/>
                        <a:pt x="370539" y="327131"/>
                        <a:pt x="365805" y="322496"/>
                      </a:cubicBezTo>
                      <a:lnTo>
                        <a:pt x="346495" y="303215"/>
                      </a:lnTo>
                      <a:cubicBezTo>
                        <a:pt x="330806" y="313597"/>
                        <a:pt x="312981" y="321105"/>
                        <a:pt x="293764" y="324906"/>
                      </a:cubicBezTo>
                      <a:lnTo>
                        <a:pt x="293764" y="352159"/>
                      </a:lnTo>
                      <a:cubicBezTo>
                        <a:pt x="293764" y="358833"/>
                        <a:pt x="288472" y="364117"/>
                        <a:pt x="281788" y="364117"/>
                      </a:cubicBezTo>
                      <a:lnTo>
                        <a:pt x="249017" y="364117"/>
                      </a:lnTo>
                      <a:cubicBezTo>
                        <a:pt x="242426" y="364117"/>
                        <a:pt x="236948" y="358833"/>
                        <a:pt x="236948" y="352159"/>
                      </a:cubicBezTo>
                      <a:lnTo>
                        <a:pt x="236948" y="324906"/>
                      </a:lnTo>
                      <a:cubicBezTo>
                        <a:pt x="217824" y="321198"/>
                        <a:pt x="199999" y="313689"/>
                        <a:pt x="184217" y="303215"/>
                      </a:cubicBezTo>
                      <a:lnTo>
                        <a:pt x="164907" y="322496"/>
                      </a:lnTo>
                      <a:cubicBezTo>
                        <a:pt x="160266" y="327131"/>
                        <a:pt x="152560" y="327131"/>
                        <a:pt x="147826" y="322496"/>
                      </a:cubicBezTo>
                      <a:lnTo>
                        <a:pt x="124709" y="299321"/>
                      </a:lnTo>
                      <a:cubicBezTo>
                        <a:pt x="119975" y="294686"/>
                        <a:pt x="119975" y="286992"/>
                        <a:pt x="124709" y="282265"/>
                      </a:cubicBezTo>
                      <a:lnTo>
                        <a:pt x="144019" y="262984"/>
                      </a:lnTo>
                      <a:cubicBezTo>
                        <a:pt x="133529" y="247318"/>
                        <a:pt x="126102" y="229520"/>
                        <a:pt x="122203" y="210331"/>
                      </a:cubicBezTo>
                      <a:lnTo>
                        <a:pt x="95002" y="210331"/>
                      </a:lnTo>
                      <a:cubicBezTo>
                        <a:pt x="88410" y="210331"/>
                        <a:pt x="83026" y="205048"/>
                        <a:pt x="83026" y="198373"/>
                      </a:cubicBezTo>
                      <a:lnTo>
                        <a:pt x="83026" y="165651"/>
                      </a:lnTo>
                      <a:cubicBezTo>
                        <a:pt x="83026" y="159069"/>
                        <a:pt x="88318" y="153600"/>
                        <a:pt x="95002" y="153600"/>
                      </a:cubicBezTo>
                      <a:lnTo>
                        <a:pt x="95002" y="153786"/>
                      </a:lnTo>
                      <a:lnTo>
                        <a:pt x="122389" y="153786"/>
                      </a:lnTo>
                      <a:cubicBezTo>
                        <a:pt x="126102" y="134597"/>
                        <a:pt x="133622" y="116799"/>
                        <a:pt x="144112" y="101133"/>
                      </a:cubicBezTo>
                      <a:lnTo>
                        <a:pt x="124709" y="81852"/>
                      </a:lnTo>
                      <a:cubicBezTo>
                        <a:pt x="119975" y="77125"/>
                        <a:pt x="119975" y="69431"/>
                        <a:pt x="124709" y="64796"/>
                      </a:cubicBezTo>
                      <a:lnTo>
                        <a:pt x="147826" y="41621"/>
                      </a:lnTo>
                      <a:cubicBezTo>
                        <a:pt x="152560" y="36986"/>
                        <a:pt x="160266" y="36986"/>
                        <a:pt x="164907" y="41621"/>
                      </a:cubicBezTo>
                      <a:lnTo>
                        <a:pt x="184217" y="60902"/>
                      </a:lnTo>
                      <a:cubicBezTo>
                        <a:pt x="199999" y="50428"/>
                        <a:pt x="217824" y="43012"/>
                        <a:pt x="236948" y="39211"/>
                      </a:cubicBezTo>
                      <a:lnTo>
                        <a:pt x="236948" y="11958"/>
                      </a:lnTo>
                      <a:cubicBezTo>
                        <a:pt x="236948" y="5469"/>
                        <a:pt x="242333" y="0"/>
                        <a:pt x="249017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28575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354"/>
                  <a:endParaRPr lang="zh-CN" altLang="en-US" sz="2000" b="1" i="1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42" name="ï$ḷïdé">
              <a:extLst>
                <a:ext uri="{FF2B5EF4-FFF2-40B4-BE49-F238E27FC236}">
                  <a16:creationId xmlns:a16="http://schemas.microsoft.com/office/drawing/2014/main" id="{2D764EA8-A879-41A0-87C0-013E5FCC1207}"/>
                </a:ext>
              </a:extLst>
            </p:cNvPr>
            <p:cNvGrpSpPr/>
            <p:nvPr/>
          </p:nvGrpSpPr>
          <p:grpSpPr>
            <a:xfrm>
              <a:off x="9306446" y="2848529"/>
              <a:ext cx="1643795" cy="2896272"/>
              <a:chOff x="9306446" y="2848529"/>
              <a:chExt cx="1643795" cy="2896272"/>
            </a:xfrm>
          </p:grpSpPr>
          <p:grpSp>
            <p:nvGrpSpPr>
              <p:cNvPr id="47" name="í$ľîḑé">
                <a:extLst>
                  <a:ext uri="{FF2B5EF4-FFF2-40B4-BE49-F238E27FC236}">
                    <a16:creationId xmlns:a16="http://schemas.microsoft.com/office/drawing/2014/main" id="{F6807095-C739-4373-8159-2ED901B7013A}"/>
                  </a:ext>
                </a:extLst>
              </p:cNvPr>
              <p:cNvGrpSpPr/>
              <p:nvPr/>
            </p:nvGrpSpPr>
            <p:grpSpPr>
              <a:xfrm>
                <a:off x="9306446" y="4297802"/>
                <a:ext cx="1643795" cy="1446999"/>
                <a:chOff x="1878003" y="4193310"/>
                <a:chExt cx="1643795" cy="1446999"/>
              </a:xfrm>
            </p:grpSpPr>
            <p:sp>
              <p:nvSpPr>
                <p:cNvPr id="52" name="îṧļiḍé">
                  <a:extLst>
                    <a:ext uri="{FF2B5EF4-FFF2-40B4-BE49-F238E27FC236}">
                      <a16:creationId xmlns:a16="http://schemas.microsoft.com/office/drawing/2014/main" id="{6828D3EF-39D1-4FA8-B653-E54923C75C58}"/>
                    </a:ext>
                  </a:extLst>
                </p:cNvPr>
                <p:cNvSpPr txBox="1"/>
                <p:nvPr/>
              </p:nvSpPr>
              <p:spPr>
                <a:xfrm>
                  <a:off x="1878003" y="4193310"/>
                  <a:ext cx="1643795" cy="446696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rtlCol="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30000"/>
                    </a:lnSpc>
                  </a:pPr>
                  <a:r>
                    <a:rPr lang="es-DO" altLang="zh-CN" sz="1600" b="1" dirty="0"/>
                    <a:t>Demostración</a:t>
                  </a:r>
                  <a:endParaRPr lang="en-US" altLang="zh-CN" sz="1600" b="1" dirty="0"/>
                </a:p>
              </p:txBody>
            </p:sp>
            <p:sp>
              <p:nvSpPr>
                <p:cNvPr id="53" name="î$ḷîdé">
                  <a:extLst>
                    <a:ext uri="{FF2B5EF4-FFF2-40B4-BE49-F238E27FC236}">
                      <a16:creationId xmlns:a16="http://schemas.microsoft.com/office/drawing/2014/main" id="{347BB25B-522D-4112-B524-54F58F91609A}"/>
                    </a:ext>
                  </a:extLst>
                </p:cNvPr>
                <p:cNvSpPr/>
                <p:nvPr/>
              </p:nvSpPr>
              <p:spPr bwMode="auto">
                <a:xfrm>
                  <a:off x="1878003" y="4640008"/>
                  <a:ext cx="1643795" cy="100030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100" dirty="0" err="1"/>
                    <a:t>Demostración</a:t>
                  </a:r>
                  <a:r>
                    <a:rPr lang="en-US" altLang="zh-CN" sz="1100" dirty="0"/>
                    <a:t> del </a:t>
                  </a:r>
                  <a:r>
                    <a:rPr lang="en-US" altLang="zh-CN" sz="1100" dirty="0" err="1"/>
                    <a:t>código</a:t>
                  </a:r>
                  <a:endParaRPr lang="en-US" altLang="zh-CN" sz="1100" dirty="0"/>
                </a:p>
              </p:txBody>
            </p:sp>
          </p:grpSp>
          <p:sp>
            <p:nvSpPr>
              <p:cNvPr id="48" name="iṣḻiḑè">
                <a:extLst>
                  <a:ext uri="{FF2B5EF4-FFF2-40B4-BE49-F238E27FC236}">
                    <a16:creationId xmlns:a16="http://schemas.microsoft.com/office/drawing/2014/main" id="{1D597841-FD62-4802-940C-12D03C0CCAE7}"/>
                  </a:ext>
                </a:extLst>
              </p:cNvPr>
              <p:cNvSpPr txBox="1"/>
              <p:nvPr/>
            </p:nvSpPr>
            <p:spPr>
              <a:xfrm>
                <a:off x="9849653" y="2848529"/>
                <a:ext cx="557380" cy="54886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2000"/>
                  <a:t>0</a:t>
                </a:r>
                <a:r>
                  <a:rPr lang="en-US" altLang="zh-CN" sz="100"/>
                  <a:t> </a:t>
                </a:r>
                <a:r>
                  <a:rPr lang="en-US" altLang="zh-CN" sz="2000"/>
                  <a:t>5</a:t>
                </a:r>
                <a:endParaRPr lang="id-ID" sz="2000" dirty="0"/>
              </a:p>
            </p:txBody>
          </p:sp>
          <p:grpSp>
            <p:nvGrpSpPr>
              <p:cNvPr id="49" name="îşļiḋe">
                <a:extLst>
                  <a:ext uri="{FF2B5EF4-FFF2-40B4-BE49-F238E27FC236}">
                    <a16:creationId xmlns:a16="http://schemas.microsoft.com/office/drawing/2014/main" id="{7A5C08D6-EB6A-4370-ADA6-AD62D0DBE14D}"/>
                  </a:ext>
                </a:extLst>
              </p:cNvPr>
              <p:cNvGrpSpPr/>
              <p:nvPr/>
            </p:nvGrpSpPr>
            <p:grpSpPr>
              <a:xfrm>
                <a:off x="9795332" y="3397395"/>
                <a:ext cx="666022" cy="666022"/>
                <a:chOff x="9795332" y="3397395"/>
                <a:chExt cx="666022" cy="666022"/>
              </a:xfrm>
            </p:grpSpPr>
            <p:sp>
              <p:nvSpPr>
                <p:cNvPr id="50" name="išḷîďé">
                  <a:extLst>
                    <a:ext uri="{FF2B5EF4-FFF2-40B4-BE49-F238E27FC236}">
                      <a16:creationId xmlns:a16="http://schemas.microsoft.com/office/drawing/2014/main" id="{B757F0BB-1A6D-410F-BD83-E3D426621328}"/>
                    </a:ext>
                  </a:extLst>
                </p:cNvPr>
                <p:cNvSpPr/>
                <p:nvPr/>
              </p:nvSpPr>
              <p:spPr>
                <a:xfrm>
                  <a:off x="9795332" y="3397395"/>
                  <a:ext cx="666022" cy="666022"/>
                </a:xfrm>
                <a:prstGeom prst="roundRect">
                  <a:avLst/>
                </a:prstGeom>
                <a:noFill/>
                <a:ln w="3175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 defTabSz="914354"/>
                  <a:endParaRPr lang="zh-CN" altLang="en-US" sz="2000" b="1" i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1" name="í$ḷíďé">
                  <a:extLst>
                    <a:ext uri="{FF2B5EF4-FFF2-40B4-BE49-F238E27FC236}">
                      <a16:creationId xmlns:a16="http://schemas.microsoft.com/office/drawing/2014/main" id="{C3A160F6-4908-4B03-AFDE-97210C2CD7AB}"/>
                    </a:ext>
                  </a:extLst>
                </p:cNvPr>
                <p:cNvSpPr/>
                <p:nvPr/>
              </p:nvSpPr>
              <p:spPr>
                <a:xfrm>
                  <a:off x="9963117" y="3560357"/>
                  <a:ext cx="330451" cy="340097"/>
                </a:xfrm>
                <a:custGeom>
                  <a:avLst/>
                  <a:gdLst>
                    <a:gd name="T0" fmla="*/ 1733 w 2799"/>
                    <a:gd name="T1" fmla="*/ 1261 h 2885"/>
                    <a:gd name="T2" fmla="*/ 1438 w 2799"/>
                    <a:gd name="T3" fmla="*/ 1602 h 2885"/>
                    <a:gd name="T4" fmla="*/ 1067 w 2799"/>
                    <a:gd name="T5" fmla="*/ 1602 h 2885"/>
                    <a:gd name="T6" fmla="*/ 772 w 2799"/>
                    <a:gd name="T7" fmla="*/ 1261 h 2885"/>
                    <a:gd name="T8" fmla="*/ 589 w 2799"/>
                    <a:gd name="T9" fmla="*/ 830 h 2885"/>
                    <a:gd name="T10" fmla="*/ 644 w 2799"/>
                    <a:gd name="T11" fmla="*/ 715 h 2885"/>
                    <a:gd name="T12" fmla="*/ 868 w 2799"/>
                    <a:gd name="T13" fmla="*/ 230 h 2885"/>
                    <a:gd name="T14" fmla="*/ 1291 w 2799"/>
                    <a:gd name="T15" fmla="*/ 0 h 2885"/>
                    <a:gd name="T16" fmla="*/ 1855 w 2799"/>
                    <a:gd name="T17" fmla="*/ 659 h 2885"/>
                    <a:gd name="T18" fmla="*/ 1916 w 2799"/>
                    <a:gd name="T19" fmla="*/ 830 h 2885"/>
                    <a:gd name="T20" fmla="*/ 1547 w 2799"/>
                    <a:gd name="T21" fmla="*/ 2326 h 2885"/>
                    <a:gd name="T22" fmla="*/ 1659 w 2799"/>
                    <a:gd name="T23" fmla="*/ 1660 h 2885"/>
                    <a:gd name="T24" fmla="*/ 1571 w 2799"/>
                    <a:gd name="T25" fmla="*/ 1699 h 2885"/>
                    <a:gd name="T26" fmla="*/ 1407 w 2799"/>
                    <a:gd name="T27" fmla="*/ 2009 h 2885"/>
                    <a:gd name="T28" fmla="*/ 1445 w 2799"/>
                    <a:gd name="T29" fmla="*/ 1839 h 2885"/>
                    <a:gd name="T30" fmla="*/ 1116 w 2799"/>
                    <a:gd name="T31" fmla="*/ 1810 h 2885"/>
                    <a:gd name="T32" fmla="*/ 1054 w 2799"/>
                    <a:gd name="T33" fmla="*/ 1902 h 2885"/>
                    <a:gd name="T34" fmla="*/ 1073 w 2799"/>
                    <a:gd name="T35" fmla="*/ 2082 h 2885"/>
                    <a:gd name="T36" fmla="*/ 899 w 2799"/>
                    <a:gd name="T37" fmla="*/ 1661 h 2885"/>
                    <a:gd name="T38" fmla="*/ 285 w 2799"/>
                    <a:gd name="T39" fmla="*/ 1884 h 2885"/>
                    <a:gd name="T40" fmla="*/ 0 w 2799"/>
                    <a:gd name="T41" fmla="*/ 2758 h 2885"/>
                    <a:gd name="T42" fmla="*/ 1760 w 2799"/>
                    <a:gd name="T43" fmla="*/ 2825 h 2885"/>
                    <a:gd name="T44" fmla="*/ 2306 w 2799"/>
                    <a:gd name="T45" fmla="*/ 2547 h 2885"/>
                    <a:gd name="T46" fmla="*/ 2413 w 2799"/>
                    <a:gd name="T47" fmla="*/ 2464 h 2885"/>
                    <a:gd name="T48" fmla="*/ 2306 w 2799"/>
                    <a:gd name="T49" fmla="*/ 2381 h 2885"/>
                    <a:gd name="T50" fmla="*/ 2044 w 2799"/>
                    <a:gd name="T51" fmla="*/ 2164 h 2885"/>
                    <a:gd name="T52" fmla="*/ 2173 w 2799"/>
                    <a:gd name="T53" fmla="*/ 2247 h 2885"/>
                    <a:gd name="T54" fmla="*/ 2128 w 2799"/>
                    <a:gd name="T55" fmla="*/ 2080 h 2885"/>
                    <a:gd name="T56" fmla="*/ 2799 w 2799"/>
                    <a:gd name="T57" fmla="*/ 2326 h 2885"/>
                    <a:gd name="T58" fmla="*/ 1680 w 2799"/>
                    <a:gd name="T59" fmla="*/ 2326 h 2885"/>
                    <a:gd name="T60" fmla="*/ 2799 w 2799"/>
                    <a:gd name="T61" fmla="*/ 2326 h 2885"/>
                    <a:gd name="T62" fmla="*/ 2306 w 2799"/>
                    <a:gd name="T63" fmla="*/ 2080 h 2885"/>
                    <a:gd name="T64" fmla="*/ 2547 w 2799"/>
                    <a:gd name="T65" fmla="*/ 2014 h 2885"/>
                    <a:gd name="T66" fmla="*/ 2306 w 2799"/>
                    <a:gd name="T67" fmla="*/ 1947 h 2885"/>
                    <a:gd name="T68" fmla="*/ 2239 w 2799"/>
                    <a:gd name="T69" fmla="*/ 1860 h 2885"/>
                    <a:gd name="T70" fmla="*/ 2173 w 2799"/>
                    <a:gd name="T71" fmla="*/ 1947 h 2885"/>
                    <a:gd name="T72" fmla="*/ 1911 w 2799"/>
                    <a:gd name="T73" fmla="*/ 2164 h 2885"/>
                    <a:gd name="T74" fmla="*/ 2173 w 2799"/>
                    <a:gd name="T75" fmla="*/ 2381 h 2885"/>
                    <a:gd name="T76" fmla="*/ 1978 w 2799"/>
                    <a:gd name="T77" fmla="*/ 2547 h 2885"/>
                    <a:gd name="T78" fmla="*/ 1978 w 2799"/>
                    <a:gd name="T79" fmla="*/ 2681 h 2885"/>
                    <a:gd name="T80" fmla="*/ 2173 w 2799"/>
                    <a:gd name="T81" fmla="*/ 2718 h 2885"/>
                    <a:gd name="T82" fmla="*/ 2306 w 2799"/>
                    <a:gd name="T83" fmla="*/ 2718 h 2885"/>
                    <a:gd name="T84" fmla="*/ 2330 w 2799"/>
                    <a:gd name="T85" fmla="*/ 2681 h 2885"/>
                    <a:gd name="T86" fmla="*/ 2330 w 2799"/>
                    <a:gd name="T87" fmla="*/ 2247 h 28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2799" h="2885">
                      <a:moveTo>
                        <a:pt x="1934" y="1048"/>
                      </a:moveTo>
                      <a:cubicBezTo>
                        <a:pt x="1890" y="1215"/>
                        <a:pt x="1789" y="1253"/>
                        <a:pt x="1733" y="1261"/>
                      </a:cubicBezTo>
                      <a:cubicBezTo>
                        <a:pt x="1699" y="1328"/>
                        <a:pt x="1626" y="1464"/>
                        <a:pt x="1552" y="1533"/>
                      </a:cubicBezTo>
                      <a:cubicBezTo>
                        <a:pt x="1523" y="1561"/>
                        <a:pt x="1484" y="1584"/>
                        <a:pt x="1438" y="1602"/>
                      </a:cubicBezTo>
                      <a:cubicBezTo>
                        <a:pt x="1379" y="1626"/>
                        <a:pt x="1317" y="1638"/>
                        <a:pt x="1253" y="1638"/>
                      </a:cubicBezTo>
                      <a:cubicBezTo>
                        <a:pt x="1189" y="1638"/>
                        <a:pt x="1126" y="1626"/>
                        <a:pt x="1067" y="1602"/>
                      </a:cubicBezTo>
                      <a:cubicBezTo>
                        <a:pt x="1021" y="1584"/>
                        <a:pt x="983" y="1561"/>
                        <a:pt x="953" y="1533"/>
                      </a:cubicBezTo>
                      <a:cubicBezTo>
                        <a:pt x="879" y="1464"/>
                        <a:pt x="806" y="1328"/>
                        <a:pt x="772" y="1261"/>
                      </a:cubicBezTo>
                      <a:cubicBezTo>
                        <a:pt x="717" y="1253"/>
                        <a:pt x="615" y="1215"/>
                        <a:pt x="571" y="1048"/>
                      </a:cubicBezTo>
                      <a:cubicBezTo>
                        <a:pt x="548" y="958"/>
                        <a:pt x="554" y="884"/>
                        <a:pt x="589" y="830"/>
                      </a:cubicBezTo>
                      <a:cubicBezTo>
                        <a:pt x="605" y="806"/>
                        <a:pt x="624" y="789"/>
                        <a:pt x="641" y="778"/>
                      </a:cubicBezTo>
                      <a:cubicBezTo>
                        <a:pt x="641" y="761"/>
                        <a:pt x="642" y="739"/>
                        <a:pt x="644" y="715"/>
                      </a:cubicBezTo>
                      <a:cubicBezTo>
                        <a:pt x="612" y="670"/>
                        <a:pt x="569" y="575"/>
                        <a:pt x="623" y="421"/>
                      </a:cubicBezTo>
                      <a:cubicBezTo>
                        <a:pt x="679" y="259"/>
                        <a:pt x="806" y="233"/>
                        <a:pt x="868" y="230"/>
                      </a:cubicBezTo>
                      <a:cubicBezTo>
                        <a:pt x="889" y="192"/>
                        <a:pt x="929" y="137"/>
                        <a:pt x="999" y="87"/>
                      </a:cubicBezTo>
                      <a:cubicBezTo>
                        <a:pt x="1079" y="31"/>
                        <a:pt x="1182" y="0"/>
                        <a:pt x="1291" y="0"/>
                      </a:cubicBezTo>
                      <a:cubicBezTo>
                        <a:pt x="1425" y="0"/>
                        <a:pt x="1560" y="47"/>
                        <a:pt x="1680" y="136"/>
                      </a:cubicBezTo>
                      <a:cubicBezTo>
                        <a:pt x="1876" y="281"/>
                        <a:pt x="1860" y="600"/>
                        <a:pt x="1855" y="659"/>
                      </a:cubicBezTo>
                      <a:cubicBezTo>
                        <a:pt x="1862" y="707"/>
                        <a:pt x="1864" y="748"/>
                        <a:pt x="1864" y="778"/>
                      </a:cubicBezTo>
                      <a:cubicBezTo>
                        <a:pt x="1882" y="789"/>
                        <a:pt x="1900" y="806"/>
                        <a:pt x="1916" y="830"/>
                      </a:cubicBezTo>
                      <a:cubicBezTo>
                        <a:pt x="1951" y="884"/>
                        <a:pt x="1958" y="958"/>
                        <a:pt x="1934" y="1048"/>
                      </a:cubicBezTo>
                      <a:close/>
                      <a:moveTo>
                        <a:pt x="1547" y="2326"/>
                      </a:moveTo>
                      <a:cubicBezTo>
                        <a:pt x="1547" y="2081"/>
                        <a:pt x="1674" y="1866"/>
                        <a:pt x="1866" y="1742"/>
                      </a:cubicBezTo>
                      <a:lnTo>
                        <a:pt x="1659" y="1660"/>
                      </a:lnTo>
                      <a:cubicBezTo>
                        <a:pt x="1642" y="1653"/>
                        <a:pt x="1623" y="1653"/>
                        <a:pt x="1607" y="1661"/>
                      </a:cubicBezTo>
                      <a:cubicBezTo>
                        <a:pt x="1590" y="1668"/>
                        <a:pt x="1577" y="1682"/>
                        <a:pt x="1571" y="1699"/>
                      </a:cubicBezTo>
                      <a:lnTo>
                        <a:pt x="1433" y="2082"/>
                      </a:lnTo>
                      <a:lnTo>
                        <a:pt x="1407" y="2009"/>
                      </a:lnTo>
                      <a:lnTo>
                        <a:pt x="1451" y="1902"/>
                      </a:lnTo>
                      <a:cubicBezTo>
                        <a:pt x="1460" y="1881"/>
                        <a:pt x="1457" y="1858"/>
                        <a:pt x="1445" y="1839"/>
                      </a:cubicBezTo>
                      <a:cubicBezTo>
                        <a:pt x="1433" y="1821"/>
                        <a:pt x="1412" y="1810"/>
                        <a:pt x="1390" y="1810"/>
                      </a:cubicBezTo>
                      <a:lnTo>
                        <a:pt x="1116" y="1810"/>
                      </a:lnTo>
                      <a:cubicBezTo>
                        <a:pt x="1093" y="1810"/>
                        <a:pt x="1073" y="1821"/>
                        <a:pt x="1060" y="1839"/>
                      </a:cubicBezTo>
                      <a:cubicBezTo>
                        <a:pt x="1048" y="1858"/>
                        <a:pt x="1046" y="1881"/>
                        <a:pt x="1054" y="1902"/>
                      </a:cubicBezTo>
                      <a:lnTo>
                        <a:pt x="1098" y="2009"/>
                      </a:lnTo>
                      <a:lnTo>
                        <a:pt x="1073" y="2082"/>
                      </a:lnTo>
                      <a:lnTo>
                        <a:pt x="934" y="1699"/>
                      </a:lnTo>
                      <a:cubicBezTo>
                        <a:pt x="928" y="1682"/>
                        <a:pt x="915" y="1668"/>
                        <a:pt x="899" y="1661"/>
                      </a:cubicBezTo>
                      <a:cubicBezTo>
                        <a:pt x="882" y="1653"/>
                        <a:pt x="863" y="1653"/>
                        <a:pt x="847" y="1660"/>
                      </a:cubicBezTo>
                      <a:lnTo>
                        <a:pt x="285" y="1884"/>
                      </a:lnTo>
                      <a:cubicBezTo>
                        <a:pt x="112" y="1953"/>
                        <a:pt x="0" y="2119"/>
                        <a:pt x="0" y="2305"/>
                      </a:cubicBezTo>
                      <a:lnTo>
                        <a:pt x="0" y="2758"/>
                      </a:lnTo>
                      <a:cubicBezTo>
                        <a:pt x="0" y="2795"/>
                        <a:pt x="30" y="2825"/>
                        <a:pt x="67" y="2825"/>
                      </a:cubicBezTo>
                      <a:lnTo>
                        <a:pt x="1760" y="2825"/>
                      </a:lnTo>
                      <a:cubicBezTo>
                        <a:pt x="1628" y="2699"/>
                        <a:pt x="1547" y="2522"/>
                        <a:pt x="1547" y="2326"/>
                      </a:cubicBezTo>
                      <a:close/>
                      <a:moveTo>
                        <a:pt x="2306" y="2547"/>
                      </a:moveTo>
                      <a:lnTo>
                        <a:pt x="2330" y="2547"/>
                      </a:lnTo>
                      <a:cubicBezTo>
                        <a:pt x="2376" y="2547"/>
                        <a:pt x="2413" y="2510"/>
                        <a:pt x="2413" y="2464"/>
                      </a:cubicBezTo>
                      <a:cubicBezTo>
                        <a:pt x="2413" y="2418"/>
                        <a:pt x="2376" y="2381"/>
                        <a:pt x="2330" y="2381"/>
                      </a:cubicBezTo>
                      <a:lnTo>
                        <a:pt x="2306" y="2381"/>
                      </a:lnTo>
                      <a:lnTo>
                        <a:pt x="2306" y="2547"/>
                      </a:lnTo>
                      <a:close/>
                      <a:moveTo>
                        <a:pt x="2044" y="2164"/>
                      </a:moveTo>
                      <a:cubicBezTo>
                        <a:pt x="2044" y="2210"/>
                        <a:pt x="2082" y="2247"/>
                        <a:pt x="2128" y="2247"/>
                      </a:cubicBezTo>
                      <a:lnTo>
                        <a:pt x="2173" y="2247"/>
                      </a:lnTo>
                      <a:lnTo>
                        <a:pt x="2173" y="2080"/>
                      </a:lnTo>
                      <a:lnTo>
                        <a:pt x="2128" y="2080"/>
                      </a:lnTo>
                      <a:cubicBezTo>
                        <a:pt x="2082" y="2080"/>
                        <a:pt x="2044" y="2118"/>
                        <a:pt x="2044" y="2164"/>
                      </a:cubicBezTo>
                      <a:close/>
                      <a:moveTo>
                        <a:pt x="2799" y="2326"/>
                      </a:moveTo>
                      <a:cubicBezTo>
                        <a:pt x="2799" y="2634"/>
                        <a:pt x="2548" y="2885"/>
                        <a:pt x="2239" y="2885"/>
                      </a:cubicBezTo>
                      <a:cubicBezTo>
                        <a:pt x="1931" y="2885"/>
                        <a:pt x="1680" y="2634"/>
                        <a:pt x="1680" y="2326"/>
                      </a:cubicBezTo>
                      <a:cubicBezTo>
                        <a:pt x="1680" y="2017"/>
                        <a:pt x="1931" y="1766"/>
                        <a:pt x="2239" y="1766"/>
                      </a:cubicBezTo>
                      <a:cubicBezTo>
                        <a:pt x="2548" y="1766"/>
                        <a:pt x="2799" y="2017"/>
                        <a:pt x="2799" y="2326"/>
                      </a:cubicBezTo>
                      <a:close/>
                      <a:moveTo>
                        <a:pt x="2306" y="2247"/>
                      </a:moveTo>
                      <a:lnTo>
                        <a:pt x="2306" y="2080"/>
                      </a:lnTo>
                      <a:lnTo>
                        <a:pt x="2480" y="2080"/>
                      </a:lnTo>
                      <a:cubicBezTo>
                        <a:pt x="2517" y="2080"/>
                        <a:pt x="2547" y="2051"/>
                        <a:pt x="2547" y="2014"/>
                      </a:cubicBezTo>
                      <a:cubicBezTo>
                        <a:pt x="2547" y="1977"/>
                        <a:pt x="2517" y="1947"/>
                        <a:pt x="2480" y="1947"/>
                      </a:cubicBezTo>
                      <a:lnTo>
                        <a:pt x="2306" y="1947"/>
                      </a:lnTo>
                      <a:lnTo>
                        <a:pt x="2306" y="1926"/>
                      </a:lnTo>
                      <a:cubicBezTo>
                        <a:pt x="2306" y="1890"/>
                        <a:pt x="2276" y="1860"/>
                        <a:pt x="2239" y="1860"/>
                      </a:cubicBezTo>
                      <a:cubicBezTo>
                        <a:pt x="2203" y="1860"/>
                        <a:pt x="2173" y="1890"/>
                        <a:pt x="2173" y="1926"/>
                      </a:cubicBezTo>
                      <a:lnTo>
                        <a:pt x="2173" y="1947"/>
                      </a:lnTo>
                      <a:lnTo>
                        <a:pt x="2128" y="1947"/>
                      </a:lnTo>
                      <a:cubicBezTo>
                        <a:pt x="2008" y="1947"/>
                        <a:pt x="1911" y="2044"/>
                        <a:pt x="1911" y="2164"/>
                      </a:cubicBezTo>
                      <a:cubicBezTo>
                        <a:pt x="1911" y="2283"/>
                        <a:pt x="2008" y="2381"/>
                        <a:pt x="2128" y="2381"/>
                      </a:cubicBezTo>
                      <a:lnTo>
                        <a:pt x="2173" y="2381"/>
                      </a:lnTo>
                      <a:lnTo>
                        <a:pt x="2173" y="2547"/>
                      </a:lnTo>
                      <a:lnTo>
                        <a:pt x="1978" y="2547"/>
                      </a:lnTo>
                      <a:cubicBezTo>
                        <a:pt x="1941" y="2547"/>
                        <a:pt x="1911" y="2577"/>
                        <a:pt x="1911" y="2614"/>
                      </a:cubicBezTo>
                      <a:cubicBezTo>
                        <a:pt x="1911" y="2651"/>
                        <a:pt x="1941" y="2681"/>
                        <a:pt x="1978" y="2681"/>
                      </a:cubicBezTo>
                      <a:lnTo>
                        <a:pt x="2173" y="2681"/>
                      </a:lnTo>
                      <a:lnTo>
                        <a:pt x="2173" y="2718"/>
                      </a:lnTo>
                      <a:cubicBezTo>
                        <a:pt x="2173" y="2754"/>
                        <a:pt x="2203" y="2784"/>
                        <a:pt x="2239" y="2784"/>
                      </a:cubicBezTo>
                      <a:cubicBezTo>
                        <a:pt x="2276" y="2784"/>
                        <a:pt x="2306" y="2754"/>
                        <a:pt x="2306" y="2718"/>
                      </a:cubicBezTo>
                      <a:lnTo>
                        <a:pt x="2306" y="2681"/>
                      </a:lnTo>
                      <a:lnTo>
                        <a:pt x="2330" y="2681"/>
                      </a:lnTo>
                      <a:cubicBezTo>
                        <a:pt x="2449" y="2681"/>
                        <a:pt x="2547" y="2584"/>
                        <a:pt x="2547" y="2464"/>
                      </a:cubicBezTo>
                      <a:cubicBezTo>
                        <a:pt x="2547" y="2344"/>
                        <a:pt x="2449" y="2247"/>
                        <a:pt x="2330" y="2247"/>
                      </a:cubicBezTo>
                      <a:lnTo>
                        <a:pt x="2306" y="2247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28575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354"/>
                  <a:endParaRPr lang="zh-CN" altLang="en-US" sz="2000" b="1" i="1">
                    <a:solidFill>
                      <a:schemeClr val="tx1"/>
                    </a:solidFill>
                  </a:endParaRPr>
                </a:p>
              </p:txBody>
            </p:sp>
          </p:grpSp>
        </p:grpSp>
        <p:cxnSp>
          <p:nvCxnSpPr>
            <p:cNvPr id="43" name="直接连接符 42">
              <a:extLst>
                <a:ext uri="{FF2B5EF4-FFF2-40B4-BE49-F238E27FC236}">
                  <a16:creationId xmlns:a16="http://schemas.microsoft.com/office/drawing/2014/main" id="{AD66B765-B4A1-4975-AC9A-1B3A7E4426C4}"/>
                </a:ext>
              </a:extLst>
            </p:cNvPr>
            <p:cNvCxnSpPr/>
            <p:nvPr/>
          </p:nvCxnSpPr>
          <p:spPr>
            <a:xfrm>
              <a:off x="3060630" y="3263217"/>
              <a:ext cx="0" cy="2066896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直接连接符 43">
              <a:extLst>
                <a:ext uri="{FF2B5EF4-FFF2-40B4-BE49-F238E27FC236}">
                  <a16:creationId xmlns:a16="http://schemas.microsoft.com/office/drawing/2014/main" id="{59AF4400-BADE-488E-B9E3-FF21C1C9A6D2}"/>
                </a:ext>
              </a:extLst>
            </p:cNvPr>
            <p:cNvCxnSpPr/>
            <p:nvPr/>
          </p:nvCxnSpPr>
          <p:spPr>
            <a:xfrm>
              <a:off x="5079977" y="3263217"/>
              <a:ext cx="0" cy="2066896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直接连接符 44">
              <a:extLst>
                <a:ext uri="{FF2B5EF4-FFF2-40B4-BE49-F238E27FC236}">
                  <a16:creationId xmlns:a16="http://schemas.microsoft.com/office/drawing/2014/main" id="{B7D1B485-6FAF-463C-BF32-2749982A2177}"/>
                </a:ext>
              </a:extLst>
            </p:cNvPr>
            <p:cNvCxnSpPr/>
            <p:nvPr/>
          </p:nvCxnSpPr>
          <p:spPr>
            <a:xfrm>
              <a:off x="7099324" y="3263217"/>
              <a:ext cx="0" cy="2066896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直接连接符 45">
              <a:extLst>
                <a:ext uri="{FF2B5EF4-FFF2-40B4-BE49-F238E27FC236}">
                  <a16:creationId xmlns:a16="http://schemas.microsoft.com/office/drawing/2014/main" id="{38DB1FDE-8F5F-450E-8B1A-453C48B617DB}"/>
                </a:ext>
              </a:extLst>
            </p:cNvPr>
            <p:cNvCxnSpPr/>
            <p:nvPr/>
          </p:nvCxnSpPr>
          <p:spPr>
            <a:xfrm>
              <a:off x="9118671" y="3263217"/>
              <a:ext cx="0" cy="2066896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419652083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7750629" y="3330840"/>
            <a:ext cx="3261757" cy="895350"/>
          </a:xfrm>
        </p:spPr>
        <p:txBody>
          <a:bodyPr>
            <a:normAutofit fontScale="90000"/>
          </a:bodyPr>
          <a:lstStyle/>
          <a:p>
            <a:pPr algn="r"/>
            <a:r>
              <a:rPr lang="es-DO" altLang="zh-CN" sz="6000" dirty="0"/>
              <a:t>Troyanos</a:t>
            </a:r>
            <a:endParaRPr lang="zh-CN" altLang="en-US" sz="600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9814699" y="2440931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rgbClr val="FFC000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1</a:t>
            </a:r>
            <a:endParaRPr lang="zh-CN" altLang="en-US" spc="100" dirty="0">
              <a:solidFill>
                <a:srgbClr val="FFC000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5C42A94C-3A2D-08A4-BE1F-9B068E38C35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93123" y="1047750"/>
            <a:ext cx="7143750" cy="47625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#39274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94F31962-1FCA-4F2C-9292-7E2B388CC63E}"/>
              </a:ext>
            </a:extLst>
          </p:cNvPr>
          <p:cNvGrpSpPr>
            <a:grpSpLocks noChangeAspect="1"/>
          </p:cNvGrpSpPr>
          <p:nvPr/>
        </p:nvGrpSpPr>
        <p:grpSpPr>
          <a:xfrm>
            <a:off x="0" y="0"/>
            <a:ext cx="12192000" cy="5845628"/>
            <a:chOff x="0" y="0"/>
            <a:chExt cx="12192000" cy="5845628"/>
          </a:xfrm>
        </p:grpSpPr>
        <p:sp>
          <p:nvSpPr>
            <p:cNvPr id="6" name="ïsľîďe">
              <a:extLst>
                <a:ext uri="{FF2B5EF4-FFF2-40B4-BE49-F238E27FC236}">
                  <a16:creationId xmlns:a16="http://schemas.microsoft.com/office/drawing/2014/main" id="{15A4AFA3-9F82-4D06-A448-D9E865DCB440}"/>
                </a:ext>
              </a:extLst>
            </p:cNvPr>
            <p:cNvSpPr/>
            <p:nvPr/>
          </p:nvSpPr>
          <p:spPr>
            <a:xfrm>
              <a:off x="0" y="0"/>
              <a:ext cx="12192000" cy="25273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762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7" name="iṩľíḍé">
              <a:extLst>
                <a:ext uri="{FF2B5EF4-FFF2-40B4-BE49-F238E27FC236}">
                  <a16:creationId xmlns:a16="http://schemas.microsoft.com/office/drawing/2014/main" id="{0A14C9EF-592C-4B25-8ECC-312A5DF1BF5F}"/>
                </a:ext>
              </a:extLst>
            </p:cNvPr>
            <p:cNvSpPr/>
            <p:nvPr/>
          </p:nvSpPr>
          <p:spPr>
            <a:xfrm>
              <a:off x="660400" y="482600"/>
              <a:ext cx="10858500" cy="2967068"/>
            </a:xfrm>
            <a:prstGeom prst="rect">
              <a:avLst/>
            </a:prstGeom>
            <a:blipFill>
              <a:blip r:embed="rId3"/>
              <a:stretch>
                <a:fillRect t="-72297" b="-71681"/>
              </a:stretch>
            </a:blipFill>
            <a:ln w="762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8" name="ï$lïdè">
              <a:extLst>
                <a:ext uri="{FF2B5EF4-FFF2-40B4-BE49-F238E27FC236}">
                  <a16:creationId xmlns:a16="http://schemas.microsoft.com/office/drawing/2014/main" id="{7FBE8A31-A60F-4EA7-91D7-1117FB92D7A6}"/>
                </a:ext>
              </a:extLst>
            </p:cNvPr>
            <p:cNvSpPr/>
            <p:nvPr/>
          </p:nvSpPr>
          <p:spPr>
            <a:xfrm>
              <a:off x="1324423" y="3511157"/>
              <a:ext cx="1686680" cy="101566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6000" b="1">
                  <a:solidFill>
                    <a:schemeClr val="bg1">
                      <a:lumMod val="95000"/>
                    </a:schemeClr>
                  </a:solidFill>
                </a:rPr>
                <a:t>P</a:t>
              </a:r>
              <a:r>
                <a:rPr lang="en-US" altLang="zh-CN" sz="100" b="1">
                  <a:solidFill>
                    <a:schemeClr val="bg1">
                      <a:lumMod val="95000"/>
                    </a:schemeClr>
                  </a:solidFill>
                </a:rPr>
                <a:t>  </a:t>
              </a:r>
              <a:r>
                <a:rPr lang="en-US" altLang="zh-CN" sz="6000" b="1">
                  <a:solidFill>
                    <a:schemeClr val="bg1">
                      <a:lumMod val="95000"/>
                    </a:schemeClr>
                  </a:solidFill>
                </a:rPr>
                <a:t>PT</a:t>
              </a:r>
              <a:endParaRPr lang="zh-CN" altLang="en-US" sz="6000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9" name="íṥľídê">
              <a:extLst>
                <a:ext uri="{FF2B5EF4-FFF2-40B4-BE49-F238E27FC236}">
                  <a16:creationId xmlns:a16="http://schemas.microsoft.com/office/drawing/2014/main" id="{8E5B1391-4DDC-496B-A5E1-C2493C77C50D}"/>
                </a:ext>
              </a:extLst>
            </p:cNvPr>
            <p:cNvSpPr txBox="1"/>
            <p:nvPr/>
          </p:nvSpPr>
          <p:spPr>
            <a:xfrm>
              <a:off x="5018314" y="3817857"/>
              <a:ext cx="6500585" cy="202777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  <a:buSzPct val="25000"/>
              </a:pPr>
              <a:r>
                <a:rPr lang="es-DO" altLang="zh-CN" dirty="0"/>
                <a:t>Un troyano es un tipo de código o software malicioso que parece real o seguro pero que pueden controlar el dispositivo. Está diseñado para dañar, interrumpir, robar o infligir alguna otra acción dañina en sus datos o red.</a:t>
              </a:r>
              <a:endParaRPr lang="en-US" altLang="zh-CN" dirty="0"/>
            </a:p>
          </p:txBody>
        </p:sp>
        <p:sp>
          <p:nvSpPr>
            <p:cNvPr id="10" name="ïṥḻïďè">
              <a:extLst>
                <a:ext uri="{FF2B5EF4-FFF2-40B4-BE49-F238E27FC236}">
                  <a16:creationId xmlns:a16="http://schemas.microsoft.com/office/drawing/2014/main" id="{6B1CFDE1-79E8-4F85-BBFD-5E92FF205AE0}"/>
                </a:ext>
              </a:extLst>
            </p:cNvPr>
            <p:cNvSpPr txBox="1"/>
            <p:nvPr/>
          </p:nvSpPr>
          <p:spPr>
            <a:xfrm>
              <a:off x="1453118" y="3935257"/>
              <a:ext cx="2637790" cy="130610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/>
            <a:p>
              <a:pPr marL="0" marR="0" lvl="0" indent="0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en-US" sz="32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</a:rPr>
                <a:t>Concepto</a:t>
              </a: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BC3649"/>
                  </a:solidFill>
                  <a:effectLst/>
                  <a:uLnTx/>
                  <a:uFillTx/>
                </a:rPr>
                <a:t> </a:t>
              </a: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</a:rPr>
                <a:t>de </a:t>
              </a:r>
              <a:r>
                <a:rPr kumimoji="0" lang="en-US" sz="32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</a:rPr>
                <a:t>Troyanos</a:t>
              </a:r>
              <a:endPara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</a:endParaRPr>
            </a:p>
          </p:txBody>
        </p:sp>
        <p:sp>
          <p:nvSpPr>
            <p:cNvPr id="12" name="íSlïde">
              <a:extLst>
                <a:ext uri="{FF2B5EF4-FFF2-40B4-BE49-F238E27FC236}">
                  <a16:creationId xmlns:a16="http://schemas.microsoft.com/office/drawing/2014/main" id="{51F67419-132B-4539-8443-B4074A9EA752}"/>
                </a:ext>
              </a:extLst>
            </p:cNvPr>
            <p:cNvSpPr/>
            <p:nvPr/>
          </p:nvSpPr>
          <p:spPr bwMode="auto">
            <a:xfrm>
              <a:off x="1453118" y="5118904"/>
              <a:ext cx="404813" cy="5715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lt1"/>
                </a:solidFill>
              </a:endParaRPr>
            </a:p>
          </p:txBody>
        </p:sp>
        <p:sp>
          <p:nvSpPr>
            <p:cNvPr id="13" name="íṥļídè">
              <a:extLst>
                <a:ext uri="{FF2B5EF4-FFF2-40B4-BE49-F238E27FC236}">
                  <a16:creationId xmlns:a16="http://schemas.microsoft.com/office/drawing/2014/main" id="{BB083555-B74E-4E4C-AF4A-29F3FF1CFEDD}"/>
                </a:ext>
              </a:extLst>
            </p:cNvPr>
            <p:cNvSpPr/>
            <p:nvPr/>
          </p:nvSpPr>
          <p:spPr>
            <a:xfrm>
              <a:off x="10881494" y="1578180"/>
              <a:ext cx="993664" cy="992580"/>
            </a:xfrm>
            <a:prstGeom prst="ellipse">
              <a:avLst/>
            </a:prstGeom>
            <a:solidFill>
              <a:schemeClr val="accent1"/>
            </a:solidFill>
            <a:ln w="38100">
              <a:solidFill>
                <a:schemeClr val="accent1"/>
              </a:solidFill>
            </a:ln>
          </p:spPr>
          <p:txBody>
            <a:bodyPr wrap="none">
              <a:noAutofit/>
            </a:bodyPr>
            <a:lstStyle/>
            <a:p>
              <a:pPr>
                <a:lnSpc>
                  <a:spcPct val="150000"/>
                </a:lnSpc>
                <a:buSzPct val="25000"/>
              </a:pPr>
              <a:endParaRPr lang="en-US" altLang="zh-CN" sz="4800" dirty="0">
                <a:latin typeface="Impact" panose="020B0806030902050204" pitchFamily="34" charset="0"/>
              </a:endParaRPr>
            </a:p>
          </p:txBody>
        </p:sp>
      </p:grpSp>
      <p:sp>
        <p:nvSpPr>
          <p:cNvPr id="2" name="标题 1">
            <a:extLst>
              <a:ext uri="{FF2B5EF4-FFF2-40B4-BE49-F238E27FC236}">
                <a16:creationId xmlns:a16="http://schemas.microsoft.com/office/drawing/2014/main" id="{4B72892C-8449-453D-8B61-1E5217E9FB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DO" altLang="zh-CN" dirty="0"/>
              <a:t>Troyano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E0F1329-5E28-4E41-9CDA-E5E7FEC8CD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r>
              <a:rPr lang="zh-CN" altLang="es-DO" sz="100"/>
              <a:t> </a:t>
            </a:r>
            <a:endParaRPr lang="zh-CN" altLang="en-US" sz="10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5188174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707571" y="3429000"/>
            <a:ext cx="4604658" cy="895350"/>
          </a:xfrm>
        </p:spPr>
        <p:txBody>
          <a:bodyPr>
            <a:normAutofit fontScale="90000"/>
          </a:bodyPr>
          <a:lstStyle/>
          <a:p>
            <a:r>
              <a:rPr lang="es-DO" altLang="zh-CN" sz="6000" dirty="0"/>
              <a:t>Ejemplos de Troyanos</a:t>
            </a:r>
            <a:endParaRPr lang="zh-CN" altLang="en-US" sz="600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790442" y="1787976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rgbClr val="FFC000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2</a:t>
            </a:r>
            <a:endParaRPr lang="zh-CN" altLang="en-US" spc="100" dirty="0">
              <a:solidFill>
                <a:srgbClr val="FFC000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59E3653-6911-BA2E-3053-56730D470F8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312229" y="261256"/>
            <a:ext cx="6498772" cy="6498772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9332342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A57864F-4714-48AE-B95D-256B004DA7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DO" altLang="zh-CN" dirty="0"/>
              <a:t>Ejemplos de Troyano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5E9F05B-5708-48BA-A1BF-862A775761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r>
              <a:rPr lang="zh-CN" altLang="es-DO" sz="100"/>
              <a:t> </a:t>
            </a:r>
            <a:endParaRPr lang="zh-CN" altLang="en-US" sz="100"/>
          </a:p>
        </p:txBody>
      </p:sp>
      <p:grpSp>
        <p:nvGrpSpPr>
          <p:cNvPr id="5" name="24935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DBF533BF-1725-41EF-BC33-F5E1D50E77ED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690905"/>
            <a:ext cx="10845800" cy="4903088"/>
            <a:chOff x="673100" y="1690905"/>
            <a:chExt cx="10845800" cy="4903088"/>
          </a:xfrm>
        </p:grpSpPr>
        <p:sp>
          <p:nvSpPr>
            <p:cNvPr id="6" name="íṡļíḓe">
              <a:extLst>
                <a:ext uri="{FF2B5EF4-FFF2-40B4-BE49-F238E27FC236}">
                  <a16:creationId xmlns:a16="http://schemas.microsoft.com/office/drawing/2014/main" id="{E799FD96-C630-4938-91F1-120C07447FE1}"/>
                </a:ext>
              </a:extLst>
            </p:cNvPr>
            <p:cNvSpPr/>
            <p:nvPr/>
          </p:nvSpPr>
          <p:spPr>
            <a:xfrm flipV="1">
              <a:off x="673100" y="1690905"/>
              <a:ext cx="10845800" cy="4302808"/>
            </a:xfrm>
            <a:prstGeom prst="donut">
              <a:avLst>
                <a:gd name="adj" fmla="val 10299"/>
              </a:avLst>
            </a:pr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29" name="íşľîďe">
              <a:extLst>
                <a:ext uri="{FF2B5EF4-FFF2-40B4-BE49-F238E27FC236}">
                  <a16:creationId xmlns:a16="http://schemas.microsoft.com/office/drawing/2014/main" id="{B2382F01-0CD5-47C3-A142-3237306D1EA8}"/>
                </a:ext>
              </a:extLst>
            </p:cNvPr>
            <p:cNvSpPr/>
            <p:nvPr/>
          </p:nvSpPr>
          <p:spPr>
            <a:xfrm>
              <a:off x="5667374" y="1819169"/>
              <a:ext cx="857252" cy="857250"/>
            </a:xfrm>
            <a:prstGeom prst="ellipse">
              <a:avLst/>
            </a:prstGeom>
            <a:solidFill>
              <a:schemeClr val="accent1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1600" b="1" i="1" dirty="0">
                <a:solidFill>
                  <a:schemeClr val="accent1"/>
                </a:solidFill>
              </a:endParaRPr>
            </a:p>
          </p:txBody>
        </p:sp>
        <p:cxnSp>
          <p:nvCxnSpPr>
            <p:cNvPr id="9" name="直接连接符 8">
              <a:extLst>
                <a:ext uri="{FF2B5EF4-FFF2-40B4-BE49-F238E27FC236}">
                  <a16:creationId xmlns:a16="http://schemas.microsoft.com/office/drawing/2014/main" id="{FB9F3158-9267-4190-8163-97C626B5B89D}"/>
                </a:ext>
              </a:extLst>
            </p:cNvPr>
            <p:cNvCxnSpPr>
              <a:cxnSpLocks/>
              <a:stCxn id="29" idx="4"/>
              <a:endCxn id="12" idx="2"/>
            </p:cNvCxnSpPr>
            <p:nvPr/>
          </p:nvCxnSpPr>
          <p:spPr>
            <a:xfrm flipH="1">
              <a:off x="6086630" y="2676419"/>
              <a:ext cx="9370" cy="350779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iś1ídê">
              <a:extLst>
                <a:ext uri="{FF2B5EF4-FFF2-40B4-BE49-F238E27FC236}">
                  <a16:creationId xmlns:a16="http://schemas.microsoft.com/office/drawing/2014/main" id="{E632F477-E3A9-47DC-9B17-2FF72B06E79D}"/>
                </a:ext>
              </a:extLst>
            </p:cNvPr>
            <p:cNvSpPr/>
            <p:nvPr/>
          </p:nvSpPr>
          <p:spPr bwMode="auto">
            <a:xfrm>
              <a:off x="4498181" y="3456478"/>
              <a:ext cx="3195638" cy="131169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t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s-DO" sz="1400" dirty="0">
                  <a:effectLst/>
                  <a:latin typeface="Times New Roman" panose="02020603050405020304" pitchFamily="18" charset="0"/>
                  <a:ea typeface="Calibri" panose="020F0502020204030204" pitchFamily="34" charset="0"/>
                </a:rPr>
                <a:t>Es un troyano que es bien conocido por propagarse rápidamente y por copiar pulsaciones de teclas, siendo utilizado para robo de credenciales y contraseñas.</a:t>
              </a:r>
              <a:endParaRPr lang="en-US" altLang="zh-CN" sz="900" dirty="0"/>
            </a:p>
          </p:txBody>
        </p:sp>
        <p:sp>
          <p:nvSpPr>
            <p:cNvPr id="11" name="iśḷíḑê">
              <a:extLst>
                <a:ext uri="{FF2B5EF4-FFF2-40B4-BE49-F238E27FC236}">
                  <a16:creationId xmlns:a16="http://schemas.microsoft.com/office/drawing/2014/main" id="{6BAC2652-93D3-460E-A1C2-A301031A0DD3}"/>
                </a:ext>
              </a:extLst>
            </p:cNvPr>
            <p:cNvSpPr txBox="1"/>
            <p:nvPr/>
          </p:nvSpPr>
          <p:spPr bwMode="auto">
            <a:xfrm>
              <a:off x="4498181" y="2866920"/>
              <a:ext cx="3195638" cy="39417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lvl="0" algn="ctr" defTabSz="913765">
                <a:spcBef>
                  <a:spcPct val="0"/>
                </a:spcBef>
                <a:defRPr/>
              </a:pPr>
              <a:r>
                <a:rPr lang="es-DO" altLang="zh-CN" b="1" dirty="0"/>
                <a:t>Zeus</a:t>
              </a:r>
              <a:endParaRPr lang="en-US" altLang="zh-CN" b="1" dirty="0"/>
            </a:p>
          </p:txBody>
        </p:sp>
        <p:sp>
          <p:nvSpPr>
            <p:cNvPr id="12" name="ï$ḻidê">
              <a:extLst>
                <a:ext uri="{FF2B5EF4-FFF2-40B4-BE49-F238E27FC236}">
                  <a16:creationId xmlns:a16="http://schemas.microsoft.com/office/drawing/2014/main" id="{E632F477-E3A9-47DC-9B17-2FF72B06E79D}"/>
                </a:ext>
              </a:extLst>
            </p:cNvPr>
            <p:cNvSpPr/>
            <p:nvPr/>
          </p:nvSpPr>
          <p:spPr bwMode="auto">
            <a:xfrm>
              <a:off x="4488811" y="4872524"/>
              <a:ext cx="3195638" cy="131169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s-DO" sz="1600" dirty="0">
                  <a:effectLst/>
                  <a:latin typeface="Times New Roman" panose="02020603050405020304" pitchFamily="18" charset="0"/>
                  <a:ea typeface="Calibri" panose="020F0502020204030204" pitchFamily="34" charset="0"/>
                </a:rPr>
                <a:t>Ha afectado a empresas como Amazon, Bank </a:t>
              </a:r>
              <a:r>
                <a:rPr lang="es-DO" sz="1600" dirty="0" err="1">
                  <a:effectLst/>
                  <a:latin typeface="Times New Roman" panose="02020603050405020304" pitchFamily="18" charset="0"/>
                  <a:ea typeface="Calibri" panose="020F0502020204030204" pitchFamily="34" charset="0"/>
                </a:rPr>
                <a:t>of</a:t>
              </a:r>
              <a:r>
                <a:rPr lang="es-DO" sz="1600" dirty="0">
                  <a:effectLst/>
                  <a:latin typeface="Times New Roman" panose="02020603050405020304" pitchFamily="18" charset="0"/>
                  <a:ea typeface="Calibri" panose="020F0502020204030204" pitchFamily="34" charset="0"/>
                </a:rPr>
                <a:t> </a:t>
              </a:r>
              <a:r>
                <a:rPr lang="es-DO" sz="1600" dirty="0" err="1">
                  <a:effectLst/>
                  <a:latin typeface="Times New Roman" panose="02020603050405020304" pitchFamily="18" charset="0"/>
                  <a:ea typeface="Calibri" panose="020F0502020204030204" pitchFamily="34" charset="0"/>
                </a:rPr>
                <a:t>America</a:t>
              </a:r>
              <a:r>
                <a:rPr lang="es-DO" sz="1600" dirty="0">
                  <a:effectLst/>
                  <a:latin typeface="Times New Roman" panose="02020603050405020304" pitchFamily="18" charset="0"/>
                  <a:ea typeface="Calibri" panose="020F0502020204030204" pitchFamily="34" charset="0"/>
                </a:rPr>
                <a:t> y Cisco causando daños que se estiman en más de 100 millones de dólares desde su creación en 2007.</a:t>
              </a:r>
              <a:endParaRPr lang="en-US" altLang="zh-CN" sz="1000" dirty="0"/>
            </a:p>
          </p:txBody>
        </p:sp>
        <p:sp>
          <p:nvSpPr>
            <p:cNvPr id="27" name="iṣ1îďe">
              <a:extLst>
                <a:ext uri="{FF2B5EF4-FFF2-40B4-BE49-F238E27FC236}">
                  <a16:creationId xmlns:a16="http://schemas.microsoft.com/office/drawing/2014/main" id="{B2382F01-0CD5-47C3-A142-3237306D1EA8}"/>
                </a:ext>
              </a:extLst>
            </p:cNvPr>
            <p:cNvSpPr/>
            <p:nvPr/>
          </p:nvSpPr>
          <p:spPr>
            <a:xfrm>
              <a:off x="2141218" y="2291185"/>
              <a:ext cx="857252" cy="857250"/>
            </a:xfrm>
            <a:prstGeom prst="ellipse">
              <a:avLst/>
            </a:prstGeom>
            <a:solidFill>
              <a:srgbClr val="080369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1600" b="1" i="1" dirty="0">
                <a:solidFill>
                  <a:schemeClr val="accent1"/>
                </a:solidFill>
              </a:endParaRPr>
            </a:p>
          </p:txBody>
        </p:sp>
        <p:cxnSp>
          <p:nvCxnSpPr>
            <p:cNvPr id="15" name="直接连接符 14">
              <a:extLst>
                <a:ext uri="{FF2B5EF4-FFF2-40B4-BE49-F238E27FC236}">
                  <a16:creationId xmlns:a16="http://schemas.microsoft.com/office/drawing/2014/main" id="{3A431ED3-EBF8-4C1F-A1C0-F9BC07BEFC0E}"/>
                </a:ext>
              </a:extLst>
            </p:cNvPr>
            <p:cNvCxnSpPr>
              <a:cxnSpLocks/>
              <a:stCxn id="27" idx="4"/>
              <a:endCxn id="18" idx="2"/>
            </p:cNvCxnSpPr>
            <p:nvPr/>
          </p:nvCxnSpPr>
          <p:spPr>
            <a:xfrm>
              <a:off x="2569844" y="3148435"/>
              <a:ext cx="0" cy="278078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iSḻîḑé">
              <a:extLst>
                <a:ext uri="{FF2B5EF4-FFF2-40B4-BE49-F238E27FC236}">
                  <a16:creationId xmlns:a16="http://schemas.microsoft.com/office/drawing/2014/main" id="{E632F477-E3A9-47DC-9B17-2FF72B06E79D}"/>
                </a:ext>
              </a:extLst>
            </p:cNvPr>
            <p:cNvSpPr/>
            <p:nvPr/>
          </p:nvSpPr>
          <p:spPr bwMode="auto">
            <a:xfrm>
              <a:off x="972025" y="3928493"/>
              <a:ext cx="3195638" cy="94403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s-DO" sz="1400" dirty="0">
                  <a:effectLst/>
                  <a:latin typeface="Times New Roman" panose="02020603050405020304" pitchFamily="18" charset="0"/>
                  <a:ea typeface="Calibri" panose="020F0502020204030204" pitchFamily="34" charset="0"/>
                </a:rPr>
                <a:t>Permite a los piratas informáticos robar los datos financieros de los usuarios. </a:t>
              </a:r>
              <a:endParaRPr lang="en-US" altLang="zh-CN" sz="800" dirty="0"/>
            </a:p>
          </p:txBody>
        </p:sp>
        <p:sp>
          <p:nvSpPr>
            <p:cNvPr id="17" name="íşļiḓé">
              <a:extLst>
                <a:ext uri="{FF2B5EF4-FFF2-40B4-BE49-F238E27FC236}">
                  <a16:creationId xmlns:a16="http://schemas.microsoft.com/office/drawing/2014/main" id="{6BAC2652-93D3-460E-A1C2-A301031A0DD3}"/>
                </a:ext>
              </a:extLst>
            </p:cNvPr>
            <p:cNvSpPr txBox="1"/>
            <p:nvPr/>
          </p:nvSpPr>
          <p:spPr bwMode="auto">
            <a:xfrm>
              <a:off x="972025" y="3338936"/>
              <a:ext cx="3195638" cy="39417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lvl="0" algn="ctr" defTabSz="913765">
                <a:spcBef>
                  <a:spcPct val="0"/>
                </a:spcBef>
                <a:defRPr/>
              </a:pPr>
              <a:r>
                <a:rPr lang="es-DO" altLang="zh-CN" b="1" dirty="0" err="1"/>
                <a:t>Tiny</a:t>
              </a:r>
              <a:r>
                <a:rPr lang="es-DO" altLang="zh-CN" b="1" dirty="0"/>
                <a:t> </a:t>
              </a:r>
              <a:r>
                <a:rPr lang="es-DO" altLang="zh-CN" b="1" dirty="0" err="1"/>
                <a:t>Banker</a:t>
              </a:r>
              <a:endParaRPr lang="en-US" altLang="zh-CN" b="1" dirty="0"/>
            </a:p>
          </p:txBody>
        </p:sp>
        <p:sp>
          <p:nvSpPr>
            <p:cNvPr id="18" name="îśľîḑè">
              <a:extLst>
                <a:ext uri="{FF2B5EF4-FFF2-40B4-BE49-F238E27FC236}">
                  <a16:creationId xmlns:a16="http://schemas.microsoft.com/office/drawing/2014/main" id="{E632F477-E3A9-47DC-9B17-2FF72B06E79D}"/>
                </a:ext>
              </a:extLst>
            </p:cNvPr>
            <p:cNvSpPr/>
            <p:nvPr/>
          </p:nvSpPr>
          <p:spPr bwMode="auto">
            <a:xfrm>
              <a:off x="972025" y="4985184"/>
              <a:ext cx="3195638" cy="94403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s-DO" sz="1400" dirty="0">
                  <a:effectLst/>
                  <a:latin typeface="Times New Roman" panose="02020603050405020304" pitchFamily="18" charset="0"/>
                  <a:ea typeface="Calibri" panose="020F0502020204030204" pitchFamily="34" charset="0"/>
                </a:rPr>
                <a:t>Se descubrió cuando infectó al menos a 20 bancos estadounidenses.</a:t>
              </a:r>
              <a:endParaRPr lang="en-US" altLang="zh-CN" sz="1400" dirty="0"/>
            </a:p>
          </p:txBody>
        </p:sp>
        <p:sp>
          <p:nvSpPr>
            <p:cNvPr id="25" name="iṩľïḍe">
              <a:extLst>
                <a:ext uri="{FF2B5EF4-FFF2-40B4-BE49-F238E27FC236}">
                  <a16:creationId xmlns:a16="http://schemas.microsoft.com/office/drawing/2014/main" id="{B2382F01-0CD5-47C3-A142-3237306D1EA8}"/>
                </a:ext>
              </a:extLst>
            </p:cNvPr>
            <p:cNvSpPr/>
            <p:nvPr/>
          </p:nvSpPr>
          <p:spPr>
            <a:xfrm>
              <a:off x="9193530" y="2291185"/>
              <a:ext cx="857252" cy="857250"/>
            </a:xfrm>
            <a:prstGeom prst="ellipse">
              <a:avLst/>
            </a:prstGeom>
            <a:solidFill>
              <a:srgbClr val="626262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sz="1600" b="1" i="1" dirty="0">
                <a:solidFill>
                  <a:schemeClr val="accent1"/>
                </a:solidFill>
              </a:endParaRPr>
            </a:p>
          </p:txBody>
        </p:sp>
        <p:cxnSp>
          <p:nvCxnSpPr>
            <p:cNvPr id="21" name="直接连接符 20">
              <a:extLst>
                <a:ext uri="{FF2B5EF4-FFF2-40B4-BE49-F238E27FC236}">
                  <a16:creationId xmlns:a16="http://schemas.microsoft.com/office/drawing/2014/main" id="{49C1754B-3CC3-4E2F-A018-C2FC11377479}"/>
                </a:ext>
              </a:extLst>
            </p:cNvPr>
            <p:cNvCxnSpPr>
              <a:cxnSpLocks/>
              <a:stCxn id="25" idx="4"/>
              <a:endCxn id="24" idx="2"/>
            </p:cNvCxnSpPr>
            <p:nvPr/>
          </p:nvCxnSpPr>
          <p:spPr>
            <a:xfrm>
              <a:off x="9622156" y="3148435"/>
              <a:ext cx="0" cy="3445558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iṩ1ídê">
              <a:extLst>
                <a:ext uri="{FF2B5EF4-FFF2-40B4-BE49-F238E27FC236}">
                  <a16:creationId xmlns:a16="http://schemas.microsoft.com/office/drawing/2014/main" id="{E632F477-E3A9-47DC-9B17-2FF72B06E79D}"/>
                </a:ext>
              </a:extLst>
            </p:cNvPr>
            <p:cNvSpPr/>
            <p:nvPr/>
          </p:nvSpPr>
          <p:spPr bwMode="auto">
            <a:xfrm>
              <a:off x="8024337" y="3928494"/>
              <a:ext cx="3195638" cy="120976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s-DO" sz="1400" dirty="0">
                  <a:effectLst/>
                  <a:latin typeface="Times New Roman" panose="02020603050405020304" pitchFamily="18" charset="0"/>
                  <a:ea typeface="Calibri" panose="020F0502020204030204" pitchFamily="34" charset="0"/>
                </a:rPr>
                <a:t>Es un troyano definido como uno de los malware más peligrosos y destructivos ya que roba información financiera.</a:t>
              </a:r>
              <a:endParaRPr lang="en-US" altLang="zh-CN" sz="900" dirty="0"/>
            </a:p>
          </p:txBody>
        </p:sp>
        <p:sp>
          <p:nvSpPr>
            <p:cNvPr id="23" name="îŝ1ïḍê">
              <a:extLst>
                <a:ext uri="{FF2B5EF4-FFF2-40B4-BE49-F238E27FC236}">
                  <a16:creationId xmlns:a16="http://schemas.microsoft.com/office/drawing/2014/main" id="{6BAC2652-93D3-460E-A1C2-A301031A0DD3}"/>
                </a:ext>
              </a:extLst>
            </p:cNvPr>
            <p:cNvSpPr txBox="1"/>
            <p:nvPr/>
          </p:nvSpPr>
          <p:spPr bwMode="auto">
            <a:xfrm>
              <a:off x="8024337" y="3338936"/>
              <a:ext cx="3195638" cy="39417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lvl="0" algn="ctr" defTabSz="913765">
                <a:spcBef>
                  <a:spcPct val="0"/>
                </a:spcBef>
                <a:defRPr/>
              </a:pPr>
              <a:r>
                <a:rPr lang="es-DO" altLang="zh-CN" b="1" dirty="0" err="1"/>
                <a:t>Emotet</a:t>
              </a:r>
              <a:endParaRPr lang="en-US" altLang="zh-CN" b="1" dirty="0"/>
            </a:p>
          </p:txBody>
        </p:sp>
        <p:sp>
          <p:nvSpPr>
            <p:cNvPr id="24" name="ïś1ïdê">
              <a:extLst>
                <a:ext uri="{FF2B5EF4-FFF2-40B4-BE49-F238E27FC236}">
                  <a16:creationId xmlns:a16="http://schemas.microsoft.com/office/drawing/2014/main" id="{E632F477-E3A9-47DC-9B17-2FF72B06E79D}"/>
                </a:ext>
              </a:extLst>
            </p:cNvPr>
            <p:cNvSpPr/>
            <p:nvPr/>
          </p:nvSpPr>
          <p:spPr bwMode="auto">
            <a:xfrm>
              <a:off x="8024337" y="5138260"/>
              <a:ext cx="3195638" cy="14557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lvl="0" algn="ctr">
                <a:lnSpc>
                  <a:spcPct val="107000"/>
                </a:lnSpc>
                <a:spcAft>
                  <a:spcPts val="800"/>
                </a:spcAft>
              </a:pPr>
              <a:r>
                <a:rPr lang="es-DO" sz="1400" dirty="0"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2 ejemplos llamativos son el caso del banco chileno Consorcio, con daños por USD 2 millones, y el caso de la ciudad de Allentown, Pensilvania, con pérdidas por USD 1 millón.</a:t>
              </a:r>
              <a:endParaRPr lang="es-DO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0245491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707571" y="3429000"/>
            <a:ext cx="7478486" cy="895350"/>
          </a:xfrm>
        </p:spPr>
        <p:txBody>
          <a:bodyPr>
            <a:normAutofit fontScale="90000"/>
          </a:bodyPr>
          <a:lstStyle/>
          <a:p>
            <a:r>
              <a:rPr lang="es-DO" altLang="zh-CN" sz="6000" dirty="0"/>
              <a:t>Descripción</a:t>
            </a:r>
            <a:endParaRPr lang="zh-CN" altLang="en-US" sz="600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812213" y="2539091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rgbClr val="FFC000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3</a:t>
            </a:r>
            <a:endParaRPr lang="zh-CN" altLang="en-US" spc="100" dirty="0">
              <a:solidFill>
                <a:srgbClr val="FFC000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55E5DF9-C4F4-6BF2-A838-F9C6D8970A9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633231" y="42183"/>
            <a:ext cx="7105651" cy="7105651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5741627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060D9E1-7550-469B-9517-6CE3F05F2A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DO" altLang="zh-CN" dirty="0"/>
              <a:t>Descripció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278E957-D70A-4739-A185-3FF1CC7020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r>
              <a:rPr lang="zh-CN" altLang="es-DO" sz="100"/>
              <a:t> </a:t>
            </a:r>
            <a:endParaRPr lang="zh-CN" altLang="en-US" sz="100"/>
          </a:p>
        </p:txBody>
      </p:sp>
      <p:sp>
        <p:nvSpPr>
          <p:cNvPr id="6" name="íślïdè">
            <a:extLst>
              <a:ext uri="{FF2B5EF4-FFF2-40B4-BE49-F238E27FC236}">
                <a16:creationId xmlns:a16="http://schemas.microsoft.com/office/drawing/2014/main" id="{4110D5EF-8FE2-421B-9ACF-584DBE26BE07}"/>
              </a:ext>
            </a:extLst>
          </p:cNvPr>
          <p:cNvSpPr/>
          <p:nvPr/>
        </p:nvSpPr>
        <p:spPr>
          <a:xfrm>
            <a:off x="6095205" y="2170130"/>
            <a:ext cx="5596845" cy="3905249"/>
          </a:xfrm>
          <a:prstGeom prst="rect">
            <a:avLst/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zh-CN" altLang="en-US"/>
          </a:p>
        </p:txBody>
      </p:sp>
      <p:sp>
        <p:nvSpPr>
          <p:cNvPr id="9" name="îş1îḓe">
            <a:extLst>
              <a:ext uri="{FF2B5EF4-FFF2-40B4-BE49-F238E27FC236}">
                <a16:creationId xmlns:a16="http://schemas.microsoft.com/office/drawing/2014/main" id="{14D988CC-A576-405D-8C4A-CD8ABF4832F4}"/>
              </a:ext>
            </a:extLst>
          </p:cNvPr>
          <p:cNvSpPr txBox="1"/>
          <p:nvPr/>
        </p:nvSpPr>
        <p:spPr>
          <a:xfrm>
            <a:off x="673100" y="1676754"/>
            <a:ext cx="6956425" cy="105849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buSzPct val="25000"/>
            </a:pPr>
            <a:r>
              <a:rPr lang="en-US" sz="6000" b="1" dirty="0"/>
              <a:t>Minion Time</a:t>
            </a:r>
          </a:p>
        </p:txBody>
      </p:sp>
      <p:sp>
        <p:nvSpPr>
          <p:cNvPr id="10" name="îs1íďè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669924" y="2962451"/>
            <a:ext cx="5596845" cy="3002920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s-DO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El malware diseñado se llama “</a:t>
            </a:r>
            <a:r>
              <a:rPr lang="es-DO" sz="2400" dirty="0" err="1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inion</a:t>
            </a:r>
            <a:r>
              <a:rPr lang="es-DO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Time” y consiste en un troyano para Windows, disfrazado de archivo PDF. El resultado del virus es la eliminación ya sea parcial o completa de los archivos encontrados en la carpeta donde se aloja el ejecutable dentro de dispositivo.</a:t>
            </a:r>
            <a:endParaRPr lang="es-DO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6" name="Right Triangle 25">
            <a:extLst>
              <a:ext uri="{FF2B5EF4-FFF2-40B4-BE49-F238E27FC236}">
                <a16:creationId xmlns:a16="http://schemas.microsoft.com/office/drawing/2014/main" id="{69600575-0CEA-B0F2-B7DF-3F420A617A4F}"/>
              </a:ext>
            </a:extLst>
          </p:cNvPr>
          <p:cNvSpPr/>
          <p:nvPr/>
        </p:nvSpPr>
        <p:spPr>
          <a:xfrm flipH="1" flipV="1">
            <a:off x="10021998" y="-1"/>
            <a:ext cx="2160000" cy="2160000"/>
          </a:xfrm>
          <a:prstGeom prst="rt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DO"/>
          </a:p>
        </p:txBody>
      </p:sp>
      <p:sp>
        <p:nvSpPr>
          <p:cNvPr id="27" name="íṥļídè">
            <a:extLst>
              <a:ext uri="{FF2B5EF4-FFF2-40B4-BE49-F238E27FC236}">
                <a16:creationId xmlns:a16="http://schemas.microsoft.com/office/drawing/2014/main" id="{2B2CB69A-2A44-5D05-F879-B1E1F89E5CDC}"/>
              </a:ext>
            </a:extLst>
          </p:cNvPr>
          <p:cNvSpPr/>
          <p:nvPr/>
        </p:nvSpPr>
        <p:spPr>
          <a:xfrm>
            <a:off x="-323740" y="5858407"/>
            <a:ext cx="993664" cy="992580"/>
          </a:xfrm>
          <a:prstGeom prst="ellipse">
            <a:avLst/>
          </a:prstGeom>
          <a:solidFill>
            <a:srgbClr val="06024E"/>
          </a:solidFill>
          <a:ln w="38100">
            <a:noFill/>
          </a:ln>
        </p:spPr>
        <p:txBody>
          <a:bodyPr wrap="none">
            <a:noAutofit/>
          </a:bodyPr>
          <a:lstStyle/>
          <a:p>
            <a:pPr>
              <a:lnSpc>
                <a:spcPct val="150000"/>
              </a:lnSpc>
              <a:buSzPct val="25000"/>
            </a:pPr>
            <a:endParaRPr lang="en-US" altLang="zh-CN" sz="4800" dirty="0">
              <a:latin typeface="Impact" panose="020B080603090205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2899315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3407228" y="3429000"/>
            <a:ext cx="7478486" cy="895350"/>
          </a:xfrm>
        </p:spPr>
        <p:txBody>
          <a:bodyPr>
            <a:normAutofit fontScale="90000"/>
          </a:bodyPr>
          <a:lstStyle/>
          <a:p>
            <a:pPr algn="r"/>
            <a:r>
              <a:rPr lang="es-DO" altLang="zh-CN" sz="6000" dirty="0"/>
              <a:t>Detalles</a:t>
            </a:r>
            <a:endParaRPr lang="zh-CN" altLang="en-US" sz="600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9694956" y="2669720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rgbClr val="FFC000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4</a:t>
            </a:r>
            <a:endParaRPr lang="zh-CN" altLang="en-US" spc="100" dirty="0">
              <a:solidFill>
                <a:srgbClr val="FFC000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A04E28B-54F8-BA18-BF8A-C7DFA29ED5B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6170" y="450396"/>
            <a:ext cx="5957207" cy="595720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89412475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#41848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heme/theme1.xml><?xml version="1.0" encoding="utf-8"?>
<a:theme xmlns:a="http://schemas.openxmlformats.org/drawingml/2006/main" name="主题5">
  <a:themeElements>
    <a:clrScheme name="Yellow">
      <a:dk1>
        <a:sysClr val="windowText" lastClr="000000"/>
      </a:dk1>
      <a:lt1>
        <a:sysClr val="window" lastClr="FFFFFF"/>
      </a:lt1>
      <a:dk2>
        <a:srgbClr val="39302A"/>
      </a:dk2>
      <a:lt2>
        <a:srgbClr val="E5DEDB"/>
      </a:lt2>
      <a:accent1>
        <a:srgbClr val="FFCA08"/>
      </a:accent1>
      <a:accent2>
        <a:srgbClr val="F8931D"/>
      </a:accent2>
      <a:accent3>
        <a:srgbClr val="CE8D3E"/>
      </a:accent3>
      <a:accent4>
        <a:srgbClr val="EC7016"/>
      </a:accent4>
      <a:accent5>
        <a:srgbClr val="E64823"/>
      </a:accent5>
      <a:accent6>
        <a:srgbClr val="9C6A6A"/>
      </a:accent6>
      <a:hlink>
        <a:srgbClr val="2998E3"/>
      </a:hlink>
      <a:folHlink>
        <a:srgbClr val="7F723D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EE4135"/>
    </a:accent1>
    <a:accent2>
      <a:srgbClr val="2C4554"/>
    </a:accent2>
    <a:accent3>
      <a:srgbClr val="646464"/>
    </a:accent3>
    <a:accent4>
      <a:srgbClr val="818181"/>
    </a:accent4>
    <a:accent5>
      <a:srgbClr val="A5A5A5"/>
    </a:accent5>
    <a:accent6>
      <a:srgbClr val="C9C9C9"/>
    </a:accent6>
    <a:hlink>
      <a:srgbClr val="EE4135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EE4135"/>
    </a:accent1>
    <a:accent2>
      <a:srgbClr val="2C4554"/>
    </a:accent2>
    <a:accent3>
      <a:srgbClr val="646464"/>
    </a:accent3>
    <a:accent4>
      <a:srgbClr val="818181"/>
    </a:accent4>
    <a:accent5>
      <a:srgbClr val="A5A5A5"/>
    </a:accent5>
    <a:accent6>
      <a:srgbClr val="C9C9C9"/>
    </a:accent6>
    <a:hlink>
      <a:srgbClr val="EE4135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EE4135"/>
    </a:accent1>
    <a:accent2>
      <a:srgbClr val="2C4554"/>
    </a:accent2>
    <a:accent3>
      <a:srgbClr val="646464"/>
    </a:accent3>
    <a:accent4>
      <a:srgbClr val="818181"/>
    </a:accent4>
    <a:accent5>
      <a:srgbClr val="A5A5A5"/>
    </a:accent5>
    <a:accent6>
      <a:srgbClr val="C9C9C9"/>
    </a:accent6>
    <a:hlink>
      <a:srgbClr val="EE4135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EE4135"/>
    </a:accent1>
    <a:accent2>
      <a:srgbClr val="2C4554"/>
    </a:accent2>
    <a:accent3>
      <a:srgbClr val="646464"/>
    </a:accent3>
    <a:accent4>
      <a:srgbClr val="818181"/>
    </a:accent4>
    <a:accent5>
      <a:srgbClr val="A5A5A5"/>
    </a:accent5>
    <a:accent6>
      <a:srgbClr val="C9C9C9"/>
    </a:accent6>
    <a:hlink>
      <a:srgbClr val="EE4135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EE4135"/>
    </a:accent1>
    <a:accent2>
      <a:srgbClr val="2C4554"/>
    </a:accent2>
    <a:accent3>
      <a:srgbClr val="646464"/>
    </a:accent3>
    <a:accent4>
      <a:srgbClr val="818181"/>
    </a:accent4>
    <a:accent5>
      <a:srgbClr val="A5A5A5"/>
    </a:accent5>
    <a:accent6>
      <a:srgbClr val="C9C9C9"/>
    </a:accent6>
    <a:hlink>
      <a:srgbClr val="EE4135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EE4135"/>
    </a:accent1>
    <a:accent2>
      <a:srgbClr val="2C4554"/>
    </a:accent2>
    <a:accent3>
      <a:srgbClr val="646464"/>
    </a:accent3>
    <a:accent4>
      <a:srgbClr val="818181"/>
    </a:accent4>
    <a:accent5>
      <a:srgbClr val="A5A5A5"/>
    </a:accent5>
    <a:accent6>
      <a:srgbClr val="C9C9C9"/>
    </a:accent6>
    <a:hlink>
      <a:srgbClr val="EE4135"/>
    </a:hlink>
    <a:folHlink>
      <a:srgbClr val="BFBFB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696DB95D8B008540A1C28145E21E9AD3" ma:contentTypeVersion="9" ma:contentTypeDescription="Crear nuevo documento." ma:contentTypeScope="" ma:versionID="2698155396c7c471ef8d2d40f163a315">
  <xsd:schema xmlns:xsd="http://www.w3.org/2001/XMLSchema" xmlns:xs="http://www.w3.org/2001/XMLSchema" xmlns:p="http://schemas.microsoft.com/office/2006/metadata/properties" xmlns:ns3="bc625ce0-c523-43a7-8173-e7e9dd4b3f13" xmlns:ns4="cf9a0ab7-4818-47e1-89d3-3b2cecc2349b" targetNamespace="http://schemas.microsoft.com/office/2006/metadata/properties" ma:root="true" ma:fieldsID="4760db423e514d304c573a0bbe6e35c0" ns3:_="" ns4:_="">
    <xsd:import namespace="bc625ce0-c523-43a7-8173-e7e9dd4b3f13"/>
    <xsd:import namespace="cf9a0ab7-4818-47e1-89d3-3b2cecc2349b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625ce0-c523-43a7-8173-e7e9dd4b3f1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f9a0ab7-4818-47e1-89d3-3b2cecc2349b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Hash de la sugerencia para compartir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3A191FA-9E6A-4650-BA45-558018ECB14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c625ce0-c523-43a7-8173-e7e9dd4b3f13"/>
    <ds:schemaRef ds:uri="cf9a0ab7-4818-47e1-89d3-3b2cecc2349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4AFFE0B-404F-47EA-A92A-17A82A29DFA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7FA8066-9CAB-4E69-899C-18AD8596AC3D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http://schemas.microsoft.com/office/2006/documentManagement/types"/>
    <ds:schemaRef ds:uri="cf9a0ab7-4818-47e1-89d3-3b2cecc2349b"/>
    <ds:schemaRef ds:uri="bc625ce0-c523-43a7-8173-e7e9dd4b3f13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605</TotalTime>
  <Words>347</Words>
  <Application>Microsoft Office PowerPoint</Application>
  <PresentationFormat>Widescreen</PresentationFormat>
  <Paragraphs>64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0" baseType="lpstr">
      <vt:lpstr>等线</vt:lpstr>
      <vt:lpstr>Arial</vt:lpstr>
      <vt:lpstr>Calibri</vt:lpstr>
      <vt:lpstr>Impact</vt:lpstr>
      <vt:lpstr>Times New Roman</vt:lpstr>
      <vt:lpstr>主题5</vt:lpstr>
      <vt:lpstr>think-cell Slide</vt:lpstr>
      <vt:lpstr>Virus Minion Time</vt:lpstr>
      <vt:lpstr>PowerPoint Presentation</vt:lpstr>
      <vt:lpstr>Troyanos</vt:lpstr>
      <vt:lpstr>Troyanos</vt:lpstr>
      <vt:lpstr>Ejemplos de Troyanos</vt:lpstr>
      <vt:lpstr>Ejemplos de Troyanos</vt:lpstr>
      <vt:lpstr>Descripción</vt:lpstr>
      <vt:lpstr>Descripción</vt:lpstr>
      <vt:lpstr>Detalles</vt:lpstr>
      <vt:lpstr>Detalles</vt:lpstr>
      <vt:lpstr>Demostración</vt:lpstr>
      <vt:lpstr>Demostración</vt:lpstr>
      <vt:lpstr>Muchas Gracias por su atención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[Est - IDS] TORIBIO TORIBIO, VICTOR ANDRES</cp:lastModifiedBy>
  <cp:revision>3</cp:revision>
  <cp:lastPrinted>2020-05-07T16:00:00Z</cp:lastPrinted>
  <dcterms:created xsi:type="dcterms:W3CDTF">2020-05-07T16:00:00Z</dcterms:created>
  <dcterms:modified xsi:type="dcterms:W3CDTF">2022-07-23T15:03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ContentTypeId">
    <vt:lpwstr>0x010100696DB95D8B008540A1C28145E21E9AD3</vt:lpwstr>
  </property>
</Properties>
</file>